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749" r:id="rId4"/>
  </p:sldMasterIdLst>
  <p:notesMasterIdLst>
    <p:notesMasterId r:id="rId37"/>
  </p:notesMasterIdLst>
  <p:handoutMasterIdLst>
    <p:handoutMasterId r:id="rId38"/>
  </p:handoutMasterIdLst>
  <p:sldIdLst>
    <p:sldId id="263" r:id="rId5"/>
    <p:sldId id="345" r:id="rId6"/>
    <p:sldId id="292" r:id="rId7"/>
    <p:sldId id="336" r:id="rId8"/>
    <p:sldId id="362" r:id="rId9"/>
    <p:sldId id="363" r:id="rId10"/>
    <p:sldId id="360" r:id="rId11"/>
    <p:sldId id="419" r:id="rId12"/>
    <p:sldId id="421" r:id="rId13"/>
    <p:sldId id="423" r:id="rId14"/>
    <p:sldId id="361" r:id="rId15"/>
    <p:sldId id="364" r:id="rId16"/>
    <p:sldId id="400" r:id="rId17"/>
    <p:sldId id="401" r:id="rId18"/>
    <p:sldId id="402" r:id="rId19"/>
    <p:sldId id="403" r:id="rId20"/>
    <p:sldId id="417" r:id="rId21"/>
    <p:sldId id="404" r:id="rId22"/>
    <p:sldId id="405" r:id="rId23"/>
    <p:sldId id="406" r:id="rId24"/>
    <p:sldId id="407" r:id="rId25"/>
    <p:sldId id="408" r:id="rId26"/>
    <p:sldId id="409" r:id="rId27"/>
    <p:sldId id="410" r:id="rId28"/>
    <p:sldId id="411" r:id="rId29"/>
    <p:sldId id="412" r:id="rId30"/>
    <p:sldId id="413" r:id="rId31"/>
    <p:sldId id="414" r:id="rId32"/>
    <p:sldId id="415" r:id="rId33"/>
    <p:sldId id="416" r:id="rId34"/>
    <p:sldId id="399" r:id="rId35"/>
    <p:sldId id="422" r:id="rId36"/>
  </p:sldIdLst>
  <p:sldSz cx="12192000" cy="6858000"/>
  <p:notesSz cx="6858000" cy="9144000"/>
  <p:embeddedFontLst>
    <p:embeddedFont>
      <p:font typeface="Kanit Light" panose="020B0604020202020204" charset="-34"/>
      <p:regular r:id="rId39"/>
      <p:italic r:id="rId40"/>
    </p:embeddedFont>
    <p:embeddedFont>
      <p:font typeface="Kanit Thin" panose="020B0604020202020204" charset="-34"/>
      <p:regular r:id="rId41"/>
      <p:italic r:id="rId42"/>
    </p:embeddedFont>
    <p:embeddedFont>
      <p:font typeface="Verdana" panose="020B0604030504040204" pitchFamily="34" charset="0"/>
      <p:regular r:id="rId43"/>
      <p:bold r:id="rId44"/>
      <p:italic r:id="rId45"/>
      <p:boldItalic r:id="rId46"/>
    </p:embeddedFont>
  </p:embeddedFontLst>
  <p:custDataLst>
    <p:tags r:id="rId47"/>
  </p:custDataLst>
  <p:defaultTextStyle>
    <a:defPPr>
      <a:defRPr lang="ro-RO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C62628C-4451-FFCE-C229-67D95100664A}" name="adrian tiron" initials="at" userId="59d08478bd547dca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316D"/>
    <a:srgbClr val="48286B"/>
    <a:srgbClr val="FFFFFF"/>
    <a:srgbClr val="78467D"/>
    <a:srgbClr val="A76192"/>
    <a:srgbClr val="B36899"/>
    <a:srgbClr val="E790B2"/>
    <a:srgbClr val="B7769D"/>
    <a:srgbClr val="C591B1"/>
    <a:srgbClr val="9B6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A7B33E-5FD0-C8B2-B5D4-98C761779F90}" v="4" dt="2025-04-11T08:32:53.7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1.fntdata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4.fntdata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2.fntdata"/><Relationship Id="rId45" Type="http://schemas.openxmlformats.org/officeDocument/2006/relationships/font" Target="fonts/font7.fntdata"/><Relationship Id="rId53" Type="http://schemas.microsoft.com/office/2018/10/relationships/authors" Target="author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6.fntdata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5.fntdata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46" Type="http://schemas.openxmlformats.org/officeDocument/2006/relationships/font" Target="fonts/font8.fntdata"/><Relationship Id="rId20" Type="http://schemas.openxmlformats.org/officeDocument/2006/relationships/slide" Target="slides/slide16.xml"/><Relationship Id="rId41" Type="http://schemas.openxmlformats.org/officeDocument/2006/relationships/font" Target="fonts/font3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409ACB7-D632-2345-AA51-F8B67D82A7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o-R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1ECB2AC-E793-E044-815C-C35BE4538EF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5F8226-1361-6A44-9F64-67DFC20EAC86}" type="datetimeFigureOut">
              <a:rPr lang="ro-RO" smtClean="0"/>
              <a:t>11.04.2025</a:t>
            </a:fld>
            <a:endParaRPr lang="ro-R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EB4B22-E43B-8D49-A0B1-808961B58AC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o-R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5FD6FE-0BFF-FA47-9105-57C563143D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4E2A2F-89F4-8F4A-996E-9058F4E53962}" type="slidenum">
              <a:rPr lang="ro-RO" smtClean="0"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3349033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o-R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FE77DB-8C94-9C4B-B30B-01636F6CA82C}" type="datetimeFigureOut">
              <a:rPr lang="ro-RO" smtClean="0"/>
              <a:t>11.04.2025</a:t>
            </a:fld>
            <a:endParaRPr lang="ro-R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o-R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o-R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o-R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FA4DCD-66E5-6F44-B685-257BA46245C1}" type="slidenum">
              <a:rPr lang="ro-RO" smtClean="0"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3366461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95D362-918C-934B-B031-B2092ABF553C}" type="slidenum">
              <a:rPr lang="en-IL" smtClean="0"/>
              <a:t>1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8822244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11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9618503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4674C-4F5C-C8DE-8511-C1C2902855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D73F525-CDC0-65C2-A2EC-98FC6D9DC5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4EE82A-622C-480D-AE7F-B6108245E4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D26408-040E-414F-EA66-B9B24DA380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12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3069775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13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8151515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14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6549120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15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3823243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16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960392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17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5948402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18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8677125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19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41061793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20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955432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2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60459797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21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99277365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22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89840339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23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6430251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24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5825057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25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591371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26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7776603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27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46317372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28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47372847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29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77645318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93955-6950-4AD4-3E61-7B451528D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F68C07-904C-D828-EA5C-7CA7E418B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5309F-98C1-D37B-1AB1-F3BB4A446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290D2-1EEA-4975-F543-96994C5F3D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30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5677667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4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57130748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329619-81A7-762F-B2C7-76BE2B79B3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43AFCA-4D4A-D6C0-5AD2-C658569EA5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C40A96-1137-E3B3-70ED-C85B010E2E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A6153-C375-2A3A-D054-D96B685E31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31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9576062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BB07C5-487C-8F41-C20E-3759FED007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DAB9F2-9A5F-2E38-71C1-505B00A074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173270-AAB7-587A-CEEA-8C67A763AE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0489A5-F1BB-749E-457C-380D90BE01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32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450684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8EC4CE-4080-1D9F-34F9-25EE31D76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4ADA2C-60C1-CAC4-9F8D-51A7C50BE2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D49D0F-C0C9-2E35-0BE2-A42CDDAEC1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E9CDA-6FAD-A8FD-5ADC-99A9C9303B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5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5021413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151F19-BA91-5879-6A05-391104EF2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536FF85-98F0-9E03-F2E5-584CB2FAD1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76BEA0-3E00-836B-CDFB-9C0C008D1F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4A1AB-297F-2051-B0A2-2F16F5DCB2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6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465798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FA043-F81C-898C-A081-44E0D74257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256A03-998E-6E00-81D5-3B1937204D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D1E65C-0DEB-ADF2-B75E-2F2BD12973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63DC60-E591-D682-686B-3C54CF95BA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7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510397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FA043-F81C-898C-A081-44E0D74257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256A03-998E-6E00-81D5-3B1937204D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D1E65C-0DEB-ADF2-B75E-2F2BD12973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63DC60-E591-D682-686B-3C54CF95BA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8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9637773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FA043-F81C-898C-A081-44E0D74257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256A03-998E-6E00-81D5-3B1937204D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D1E65C-0DEB-ADF2-B75E-2F2BD12973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63DC60-E591-D682-686B-3C54CF95BA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9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6587334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7DF256-6448-E5BB-BB64-9A5D264491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1E6967-3B01-82E4-D7F8-4E4EC755F7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5B9F73-DC22-937A-5D92-036046EACC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3AB761-FC58-AA83-042F-F0DE8110CA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FA4DCD-66E5-6F44-B685-257BA46245C1}" type="slidenum">
              <a:rPr lang="ro-RO" smtClean="0"/>
              <a:t>10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4129862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11.png"/><Relationship Id="rId7" Type="http://schemas.openxmlformats.org/officeDocument/2006/relationships/image" Target="../media/image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11.png"/><Relationship Id="rId7" Type="http://schemas.openxmlformats.org/officeDocument/2006/relationships/image" Target="../media/image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11.png"/><Relationship Id="rId7" Type="http://schemas.openxmlformats.org/officeDocument/2006/relationships/image" Target="../media/image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11.png"/><Relationship Id="rId7" Type="http://schemas.openxmlformats.org/officeDocument/2006/relationships/image" Target="../media/image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 descr="A picture containing rainbow, nature&#10;&#10;Description automatically generated">
            <a:extLst>
              <a:ext uri="{FF2B5EF4-FFF2-40B4-BE49-F238E27FC236}">
                <a16:creationId xmlns:a16="http://schemas.microsoft.com/office/drawing/2014/main" id="{A7AEAD64-2264-41AA-B141-87877236F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9947"/>
          <a:stretch/>
        </p:blipFill>
        <p:spPr>
          <a:xfrm>
            <a:off x="0" y="0"/>
            <a:ext cx="12192000" cy="59073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A7DA5D6-C88F-DD49-A801-454F40CDF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4114" y="1701641"/>
            <a:ext cx="5863772" cy="1240336"/>
          </a:xfrm>
          <a:prstGeom prst="rect">
            <a:avLst/>
          </a:prstGeom>
        </p:spPr>
        <p:txBody>
          <a:bodyPr vert="horz" anchor="t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  <a:endParaRPr lang="ro-RO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A0AF4DA-04EA-8E43-B1EC-D611A4C7A60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64114" y="3090259"/>
            <a:ext cx="5863772" cy="56737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29502D4-9EDF-4F80-9F10-92511534A1C8}"/>
              </a:ext>
            </a:extLst>
          </p:cNvPr>
          <p:cNvGrpSpPr/>
          <p:nvPr userDrawn="1"/>
        </p:nvGrpSpPr>
        <p:grpSpPr>
          <a:xfrm>
            <a:off x="0" y="-1"/>
            <a:ext cx="12192001" cy="6858000"/>
            <a:chOff x="0" y="-1"/>
            <a:chExt cx="12192001" cy="6858000"/>
          </a:xfrm>
          <a:gradFill>
            <a:gsLst>
              <a:gs pos="100000">
                <a:srgbClr val="FFFFFF">
                  <a:alpha val="0"/>
                </a:srgbClr>
              </a:gs>
              <a:gs pos="0">
                <a:schemeClr val="bg1">
                  <a:alpha val="9000"/>
                </a:schemeClr>
              </a:gs>
            </a:gsLst>
            <a:lin ang="1800000" scaled="0"/>
          </a:gradFill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9405C1B-700B-4AA3-B23F-9216D438A439}"/>
                </a:ext>
              </a:extLst>
            </p:cNvPr>
            <p:cNvSpPr/>
            <p:nvPr userDrawn="1"/>
          </p:nvSpPr>
          <p:spPr>
            <a:xfrm>
              <a:off x="2215510" y="-1"/>
              <a:ext cx="9976491" cy="4563700"/>
            </a:xfrm>
            <a:custGeom>
              <a:avLst/>
              <a:gdLst>
                <a:gd name="connsiteX0" fmla="*/ 531360 w 9976491"/>
                <a:gd name="connsiteY0" fmla="*/ 0 h 4563700"/>
                <a:gd name="connsiteX1" fmla="*/ 1221397 w 9976491"/>
                <a:gd name="connsiteY1" fmla="*/ 0 h 4563700"/>
                <a:gd name="connsiteX2" fmla="*/ 1204386 w 9976491"/>
                <a:gd name="connsiteY2" fmla="*/ 87398 h 4563700"/>
                <a:gd name="connsiteX3" fmla="*/ 736619 w 9976491"/>
                <a:gd name="connsiteY3" fmla="*/ 1001449 h 4563700"/>
                <a:gd name="connsiteX4" fmla="*/ 701771 w 9976491"/>
                <a:gd name="connsiteY4" fmla="*/ 1161430 h 4563700"/>
                <a:gd name="connsiteX5" fmla="*/ 1340112 w 9976491"/>
                <a:gd name="connsiteY5" fmla="*/ 3266529 h 4563700"/>
                <a:gd name="connsiteX6" fmla="*/ 1457326 w 9976491"/>
                <a:gd name="connsiteY6" fmla="*/ 3379782 h 4563700"/>
                <a:gd name="connsiteX7" fmla="*/ 2297622 w 9976491"/>
                <a:gd name="connsiteY7" fmla="*/ 3828839 h 4563700"/>
                <a:gd name="connsiteX8" fmla="*/ 2456020 w 9976491"/>
                <a:gd name="connsiteY8" fmla="*/ 3863685 h 4563700"/>
                <a:gd name="connsiteX9" fmla="*/ 9976491 w 9976491"/>
                <a:gd name="connsiteY9" fmla="*/ 1584011 h 4563700"/>
                <a:gd name="connsiteX10" fmla="*/ 9976491 w 9976491"/>
                <a:gd name="connsiteY10" fmla="*/ 2286964 h 4563700"/>
                <a:gd name="connsiteX11" fmla="*/ 2559770 w 9976491"/>
                <a:gd name="connsiteY11" fmla="*/ 4535290 h 4563700"/>
                <a:gd name="connsiteX12" fmla="*/ 1892126 w 9976491"/>
                <a:gd name="connsiteY12" fmla="*/ 4370556 h 4563700"/>
                <a:gd name="connsiteX13" fmla="*/ 1230027 w 9976491"/>
                <a:gd name="connsiteY13" fmla="*/ 4016539 h 4563700"/>
                <a:gd name="connsiteX14" fmla="*/ 722363 w 9976491"/>
                <a:gd name="connsiteY14" fmla="*/ 3553227 h 4563700"/>
                <a:gd name="connsiteX15" fmla="*/ 29375 w 9976491"/>
                <a:gd name="connsiteY15" fmla="*/ 1265972 h 4563700"/>
                <a:gd name="connsiteX16" fmla="*/ 183812 w 9976491"/>
                <a:gd name="connsiteY16" fmla="*/ 609416 h 4563700"/>
                <a:gd name="connsiteX17" fmla="*/ 482724 w 9976491"/>
                <a:gd name="connsiteY17" fmla="*/ 149431 h 4563700"/>
                <a:gd name="connsiteX18" fmla="*/ 531360 w 9976491"/>
                <a:gd name="connsiteY18" fmla="*/ 0 h 456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976491" h="4563700">
                  <a:moveTo>
                    <a:pt x="531360" y="0"/>
                  </a:moveTo>
                  <a:lnTo>
                    <a:pt x="1221397" y="0"/>
                  </a:lnTo>
                  <a:lnTo>
                    <a:pt x="1204386" y="87398"/>
                  </a:lnTo>
                  <a:cubicBezTo>
                    <a:pt x="1127266" y="426269"/>
                    <a:pt x="965899" y="741282"/>
                    <a:pt x="736619" y="1001449"/>
                  </a:cubicBezTo>
                  <a:cubicBezTo>
                    <a:pt x="697812" y="1045008"/>
                    <a:pt x="685140" y="1105199"/>
                    <a:pt x="701771" y="1161430"/>
                  </a:cubicBezTo>
                  <a:lnTo>
                    <a:pt x="1340112" y="3266529"/>
                  </a:lnTo>
                  <a:cubicBezTo>
                    <a:pt x="1356744" y="3321968"/>
                    <a:pt x="1401094" y="3364734"/>
                    <a:pt x="1457326" y="3379782"/>
                  </a:cubicBezTo>
                  <a:cubicBezTo>
                    <a:pt x="1767784" y="3462941"/>
                    <a:pt x="2056066" y="3616586"/>
                    <a:pt x="2297622" y="3828839"/>
                  </a:cubicBezTo>
                  <a:cubicBezTo>
                    <a:pt x="2340390" y="3867645"/>
                    <a:pt x="2400580" y="3880318"/>
                    <a:pt x="2456020" y="3863685"/>
                  </a:cubicBezTo>
                  <a:lnTo>
                    <a:pt x="9976491" y="1584011"/>
                  </a:lnTo>
                  <a:lnTo>
                    <a:pt x="9976491" y="2286964"/>
                  </a:lnTo>
                  <a:lnTo>
                    <a:pt x="2559770" y="4535290"/>
                  </a:lnTo>
                  <a:cubicBezTo>
                    <a:pt x="2323758" y="4606569"/>
                    <a:pt x="2071116" y="4540833"/>
                    <a:pt x="1892126" y="4370556"/>
                  </a:cubicBezTo>
                  <a:cubicBezTo>
                    <a:pt x="1707592" y="4194736"/>
                    <a:pt x="1477916" y="4071978"/>
                    <a:pt x="1230027" y="4016539"/>
                  </a:cubicBezTo>
                  <a:cubicBezTo>
                    <a:pt x="989262" y="3962684"/>
                    <a:pt x="793642" y="3788447"/>
                    <a:pt x="722363" y="3553227"/>
                  </a:cubicBezTo>
                  <a:lnTo>
                    <a:pt x="29375" y="1265972"/>
                  </a:lnTo>
                  <a:cubicBezTo>
                    <a:pt x="-40320" y="1035504"/>
                    <a:pt x="15119" y="782068"/>
                    <a:pt x="183812" y="609416"/>
                  </a:cubicBezTo>
                  <a:cubicBezTo>
                    <a:pt x="313005" y="476956"/>
                    <a:pt x="414466" y="320217"/>
                    <a:pt x="482724" y="149431"/>
                  </a:cubicBezTo>
                  <a:lnTo>
                    <a:pt x="53136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6FC93D3-01F5-449A-BFC4-FCEC6D96707C}"/>
                </a:ext>
              </a:extLst>
            </p:cNvPr>
            <p:cNvSpPr/>
            <p:nvPr userDrawn="1"/>
          </p:nvSpPr>
          <p:spPr>
            <a:xfrm>
              <a:off x="0" y="352419"/>
              <a:ext cx="12192000" cy="6505580"/>
            </a:xfrm>
            <a:custGeom>
              <a:avLst/>
              <a:gdLst>
                <a:gd name="connsiteX0" fmla="*/ 0 w 12192000"/>
                <a:gd name="connsiteY0" fmla="*/ 0 h 6505580"/>
                <a:gd name="connsiteX1" fmla="*/ 122186 w 12192000"/>
                <a:gd name="connsiteY1" fmla="*/ 40242 h 6505580"/>
                <a:gd name="connsiteX2" fmla="*/ 355206 w 12192000"/>
                <a:gd name="connsiteY2" fmla="*/ 211060 h 6505580"/>
                <a:gd name="connsiteX3" fmla="*/ 1106801 w 12192000"/>
                <a:gd name="connsiteY3" fmla="*/ 646653 h 6505580"/>
                <a:gd name="connsiteX4" fmla="*/ 1602584 w 12192000"/>
                <a:gd name="connsiteY4" fmla="*/ 1111548 h 6505580"/>
                <a:gd name="connsiteX5" fmla="*/ 2294780 w 12192000"/>
                <a:gd name="connsiteY5" fmla="*/ 3394844 h 6505580"/>
                <a:gd name="connsiteX6" fmla="*/ 2135590 w 12192000"/>
                <a:gd name="connsiteY6" fmla="*/ 4056152 h 6505580"/>
                <a:gd name="connsiteX7" fmla="*/ 1829883 w 12192000"/>
                <a:gd name="connsiteY7" fmla="*/ 5518158 h 6505580"/>
                <a:gd name="connsiteX8" fmla="*/ 3462959 w 12192000"/>
                <a:gd name="connsiteY8" fmla="*/ 6391719 h 6505580"/>
                <a:gd name="connsiteX9" fmla="*/ 4509170 w 12192000"/>
                <a:gd name="connsiteY9" fmla="*/ 5325706 h 6505580"/>
                <a:gd name="connsiteX10" fmla="*/ 4970898 w 12192000"/>
                <a:gd name="connsiteY10" fmla="*/ 4826755 h 6505580"/>
                <a:gd name="connsiteX11" fmla="*/ 12192000 w 12192000"/>
                <a:gd name="connsiteY11" fmla="*/ 2637729 h 6505580"/>
                <a:gd name="connsiteX12" fmla="*/ 12192000 w 12192000"/>
                <a:gd name="connsiteY12" fmla="*/ 3340660 h 6505580"/>
                <a:gd name="connsiteX13" fmla="*/ 5256806 w 12192000"/>
                <a:gd name="connsiteY13" fmla="*/ 5442919 h 6505580"/>
                <a:gd name="connsiteX14" fmla="*/ 5143554 w 12192000"/>
                <a:gd name="connsiteY14" fmla="*/ 5560134 h 6505580"/>
                <a:gd name="connsiteX15" fmla="*/ 4643314 w 12192000"/>
                <a:gd name="connsiteY15" fmla="*/ 6457157 h 6505580"/>
                <a:gd name="connsiteX16" fmla="*/ 4591278 w 12192000"/>
                <a:gd name="connsiteY16" fmla="*/ 6505580 h 6505580"/>
                <a:gd name="connsiteX17" fmla="*/ 1686583 w 12192000"/>
                <a:gd name="connsiteY17" fmla="*/ 6505580 h 6505580"/>
                <a:gd name="connsiteX18" fmla="*/ 1684267 w 12192000"/>
                <a:gd name="connsiteY18" fmla="*/ 6503505 h 6505580"/>
                <a:gd name="connsiteX19" fmla="*/ 1158280 w 12192000"/>
                <a:gd name="connsiteY19" fmla="*/ 5630621 h 6505580"/>
                <a:gd name="connsiteX20" fmla="*/ 1650895 w 12192000"/>
                <a:gd name="connsiteY20" fmla="*/ 3591257 h 6505580"/>
                <a:gd name="connsiteX21" fmla="*/ 984835 w 12192000"/>
                <a:gd name="connsiteY21" fmla="*/ 1394288 h 6505580"/>
                <a:gd name="connsiteX22" fmla="*/ 867620 w 12192000"/>
                <a:gd name="connsiteY22" fmla="*/ 1281033 h 6505580"/>
                <a:gd name="connsiteX23" fmla="*/ 18364 w 12192000"/>
                <a:gd name="connsiteY23" fmla="*/ 823921 h 6505580"/>
                <a:gd name="connsiteX24" fmla="*/ 0 w 12192000"/>
                <a:gd name="connsiteY24" fmla="*/ 806400 h 6505580"/>
                <a:gd name="connsiteX25" fmla="*/ 0 w 12192000"/>
                <a:gd name="connsiteY25" fmla="*/ 0 h 6505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192000" h="6505580">
                  <a:moveTo>
                    <a:pt x="0" y="0"/>
                  </a:moveTo>
                  <a:lnTo>
                    <a:pt x="122186" y="40242"/>
                  </a:lnTo>
                  <a:cubicBezTo>
                    <a:pt x="209270" y="79418"/>
                    <a:pt x="288976" y="137109"/>
                    <a:pt x="355206" y="211060"/>
                  </a:cubicBezTo>
                  <a:cubicBezTo>
                    <a:pt x="553202" y="432025"/>
                    <a:pt x="817726" y="584877"/>
                    <a:pt x="1106801" y="646653"/>
                  </a:cubicBezTo>
                  <a:cubicBezTo>
                    <a:pt x="1344397" y="697340"/>
                    <a:pt x="1532097" y="878705"/>
                    <a:pt x="1602584" y="1111548"/>
                  </a:cubicBezTo>
                  <a:lnTo>
                    <a:pt x="2294780" y="3394844"/>
                  </a:lnTo>
                  <a:cubicBezTo>
                    <a:pt x="2365266" y="3627688"/>
                    <a:pt x="2304283" y="3881123"/>
                    <a:pt x="2135590" y="4056152"/>
                  </a:cubicBezTo>
                  <a:cubicBezTo>
                    <a:pt x="1776029" y="4429177"/>
                    <a:pt x="1634263" y="4990696"/>
                    <a:pt x="1829883" y="5518158"/>
                  </a:cubicBezTo>
                  <a:cubicBezTo>
                    <a:pt x="2073815" y="6175506"/>
                    <a:pt x="2781058" y="6554076"/>
                    <a:pt x="3462959" y="6391719"/>
                  </a:cubicBezTo>
                  <a:cubicBezTo>
                    <a:pt x="4010221" y="6261833"/>
                    <a:pt x="4398294" y="5831784"/>
                    <a:pt x="4509170" y="5325706"/>
                  </a:cubicBezTo>
                  <a:cubicBezTo>
                    <a:pt x="4561442" y="5088110"/>
                    <a:pt x="4738058" y="4897241"/>
                    <a:pt x="4970898" y="4826755"/>
                  </a:cubicBezTo>
                  <a:lnTo>
                    <a:pt x="12192000" y="2637729"/>
                  </a:lnTo>
                  <a:lnTo>
                    <a:pt x="12192000" y="3340660"/>
                  </a:lnTo>
                  <a:lnTo>
                    <a:pt x="5256806" y="5442919"/>
                  </a:lnTo>
                  <a:cubicBezTo>
                    <a:pt x="5201370" y="5459551"/>
                    <a:pt x="5158598" y="5503903"/>
                    <a:pt x="5143554" y="5560134"/>
                  </a:cubicBezTo>
                  <a:cubicBezTo>
                    <a:pt x="5054454" y="5895539"/>
                    <a:pt x="4882197" y="6204810"/>
                    <a:pt x="4643314" y="6457157"/>
                  </a:cubicBezTo>
                  <a:lnTo>
                    <a:pt x="4591278" y="6505580"/>
                  </a:lnTo>
                  <a:lnTo>
                    <a:pt x="1686583" y="6505580"/>
                  </a:lnTo>
                  <a:lnTo>
                    <a:pt x="1684267" y="6503505"/>
                  </a:lnTo>
                  <a:cubicBezTo>
                    <a:pt x="1446349" y="6268710"/>
                    <a:pt x="1261980" y="5972907"/>
                    <a:pt x="1158280" y="5630621"/>
                  </a:cubicBezTo>
                  <a:cubicBezTo>
                    <a:pt x="932564" y="4887737"/>
                    <a:pt x="1147192" y="4114759"/>
                    <a:pt x="1650895" y="3591257"/>
                  </a:cubicBezTo>
                  <a:lnTo>
                    <a:pt x="984835" y="1394288"/>
                  </a:lnTo>
                  <a:cubicBezTo>
                    <a:pt x="968203" y="1338849"/>
                    <a:pt x="923851" y="1296081"/>
                    <a:pt x="867620" y="1281033"/>
                  </a:cubicBezTo>
                  <a:cubicBezTo>
                    <a:pt x="553004" y="1197182"/>
                    <a:pt x="261430" y="1040567"/>
                    <a:pt x="18364" y="823921"/>
                  </a:cubicBezTo>
                  <a:lnTo>
                    <a:pt x="0" y="806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DF4A843D-C5CD-4883-B866-4DCCAC5E4CE8}"/>
              </a:ext>
            </a:extLst>
          </p:cNvPr>
          <p:cNvSpPr/>
          <p:nvPr userDrawn="1"/>
        </p:nvSpPr>
        <p:spPr>
          <a:xfrm>
            <a:off x="3176" y="5036457"/>
            <a:ext cx="12188824" cy="182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5B2E4717-A806-48A3-B09E-C1437AC14F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09786" y="5530391"/>
            <a:ext cx="4372428" cy="491635"/>
          </a:xfrm>
          <a:prstGeom prst="rect">
            <a:avLst/>
          </a:prstGeom>
        </p:spPr>
      </p:pic>
      <p:pic>
        <p:nvPicPr>
          <p:cNvPr id="18447" name="Picture 15">
            <a:extLst>
              <a:ext uri="{FF2B5EF4-FFF2-40B4-BE49-F238E27FC236}">
                <a16:creationId xmlns:a16="http://schemas.microsoft.com/office/drawing/2014/main" id="{5379DC86-275C-420A-B037-237EAFA62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05164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4236918-2A81-0748-B950-789BA0D88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9936448" cy="751294"/>
          </a:xfrm>
          <a:prstGeom prst="rect">
            <a:avLst/>
          </a:prstGeom>
        </p:spPr>
        <p:txBody>
          <a:bodyPr vert="horz"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C69B36-147E-A146-B44D-39F44768C1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545A2-C569-5C4D-8556-4771E90EDC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pic>
        <p:nvPicPr>
          <p:cNvPr id="13328" name="Picture 16">
            <a:extLst>
              <a:ext uri="{FF2B5EF4-FFF2-40B4-BE49-F238E27FC236}">
                <a16:creationId xmlns:a16="http://schemas.microsoft.com/office/drawing/2014/main" id="{0804A382-6DD9-4B4E-B0BC-42E31B1B55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83154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4236918-2A81-0748-B950-789BA0D88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9936448" cy="751294"/>
          </a:xfrm>
          <a:prstGeom prst="rect">
            <a:avLst/>
          </a:prstGeom>
        </p:spPr>
        <p:txBody>
          <a:bodyPr vert="horz"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545A2-C569-5C4D-8556-4771E90EDC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C19E184-ABFE-4626-B63A-E5DD686E0C1E}"/>
              </a:ext>
            </a:extLst>
          </p:cNvPr>
          <p:cNvGrpSpPr/>
          <p:nvPr userDrawn="1"/>
        </p:nvGrpSpPr>
        <p:grpSpPr>
          <a:xfrm>
            <a:off x="0" y="3176"/>
            <a:ext cx="8194926" cy="6862081"/>
            <a:chOff x="0" y="3176"/>
            <a:chExt cx="8194926" cy="6854823"/>
          </a:xfrm>
          <a:gradFill>
            <a:gsLst>
              <a:gs pos="61000">
                <a:schemeClr val="bg1">
                  <a:alpha val="59000"/>
                </a:schemeClr>
              </a:gs>
              <a:gs pos="49000">
                <a:schemeClr val="accent2">
                  <a:alpha val="55000"/>
                </a:schemeClr>
              </a:gs>
              <a:gs pos="3000">
                <a:schemeClr val="accent1">
                  <a:alpha val="91000"/>
                </a:schemeClr>
              </a:gs>
              <a:gs pos="99115">
                <a:schemeClr val="accent4">
                  <a:alpha val="57000"/>
                </a:schemeClr>
              </a:gs>
              <a:gs pos="71000">
                <a:schemeClr val="accent3">
                  <a:alpha val="65000"/>
                </a:schemeClr>
              </a:gs>
            </a:gsLst>
            <a:lin ang="1800000" scaled="0"/>
          </a:gra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663123D-AA27-49DC-B0FE-768ED146DFCA}"/>
                </a:ext>
              </a:extLst>
            </p:cNvPr>
            <p:cNvSpPr/>
            <p:nvPr/>
          </p:nvSpPr>
          <p:spPr>
            <a:xfrm>
              <a:off x="0" y="4703175"/>
              <a:ext cx="8194926" cy="2154824"/>
            </a:xfrm>
            <a:custGeom>
              <a:avLst/>
              <a:gdLst>
                <a:gd name="connsiteX0" fmla="*/ 4138019 w 8194926"/>
                <a:gd name="connsiteY0" fmla="*/ 1110 h 2154824"/>
                <a:gd name="connsiteX1" fmla="*/ 4480951 w 8194926"/>
                <a:gd name="connsiteY1" fmla="*/ 61530 h 2154824"/>
                <a:gd name="connsiteX2" fmla="*/ 7252684 w 8194926"/>
                <a:gd name="connsiteY2" fmla="*/ 941446 h 2154824"/>
                <a:gd name="connsiteX3" fmla="*/ 8132599 w 8194926"/>
                <a:gd name="connsiteY3" fmla="*/ 1909352 h 2154824"/>
                <a:gd name="connsiteX4" fmla="*/ 8173374 w 8194926"/>
                <a:gd name="connsiteY4" fmla="*/ 2083949 h 2154824"/>
                <a:gd name="connsiteX5" fmla="*/ 8194926 w 8194926"/>
                <a:gd name="connsiteY5" fmla="*/ 2154824 h 2154824"/>
                <a:gd name="connsiteX6" fmla="*/ 6729519 w 8194926"/>
                <a:gd name="connsiteY6" fmla="*/ 2154824 h 2154824"/>
                <a:gd name="connsiteX7" fmla="*/ 6677597 w 8194926"/>
                <a:gd name="connsiteY7" fmla="*/ 2130902 h 2154824"/>
                <a:gd name="connsiteX8" fmla="*/ 4257829 w 8194926"/>
                <a:gd name="connsiteY8" fmla="*/ 1362550 h 2154824"/>
                <a:gd name="connsiteX9" fmla="*/ 3946717 w 8194926"/>
                <a:gd name="connsiteY9" fmla="*/ 1425400 h 2154824"/>
                <a:gd name="connsiteX10" fmla="*/ 2822688 w 8194926"/>
                <a:gd name="connsiteY10" fmla="*/ 2106956 h 2154824"/>
                <a:gd name="connsiteX11" fmla="*/ 2695250 w 8194926"/>
                <a:gd name="connsiteY11" fmla="*/ 2154824 h 2154824"/>
                <a:gd name="connsiteX12" fmla="*/ 0 w 8194926"/>
                <a:gd name="connsiteY12" fmla="*/ 2154824 h 2154824"/>
                <a:gd name="connsiteX13" fmla="*/ 0 w 8194926"/>
                <a:gd name="connsiteY13" fmla="*/ 740419 h 2154824"/>
                <a:gd name="connsiteX14" fmla="*/ 118632 w 8194926"/>
                <a:gd name="connsiteY14" fmla="*/ 806582 h 2154824"/>
                <a:gd name="connsiteX15" fmla="*/ 350061 w 8194926"/>
                <a:gd name="connsiteY15" fmla="*/ 908450 h 2154824"/>
                <a:gd name="connsiteX16" fmla="*/ 3194075 w 8194926"/>
                <a:gd name="connsiteY16" fmla="*/ 352218 h 2154824"/>
                <a:gd name="connsiteX17" fmla="*/ 4138019 w 8194926"/>
                <a:gd name="connsiteY17" fmla="*/ 1110 h 2154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194926" h="2154824">
                  <a:moveTo>
                    <a:pt x="4138019" y="1110"/>
                  </a:moveTo>
                  <a:cubicBezTo>
                    <a:pt x="4252919" y="5848"/>
                    <a:pt x="4368212" y="25784"/>
                    <a:pt x="4480951" y="61530"/>
                  </a:cubicBezTo>
                  <a:lnTo>
                    <a:pt x="7252684" y="941446"/>
                  </a:lnTo>
                  <a:cubicBezTo>
                    <a:pt x="7698927" y="1082862"/>
                    <a:pt x="8041465" y="1450540"/>
                    <a:pt x="8132599" y="1909352"/>
                  </a:cubicBezTo>
                  <a:cubicBezTo>
                    <a:pt x="8144286" y="1968079"/>
                    <a:pt x="8157893" y="2026308"/>
                    <a:pt x="8173374" y="2083949"/>
                  </a:cubicBezTo>
                  <a:lnTo>
                    <a:pt x="8194926" y="2154824"/>
                  </a:lnTo>
                  <a:lnTo>
                    <a:pt x="6729519" y="2154824"/>
                  </a:lnTo>
                  <a:lnTo>
                    <a:pt x="6677597" y="2130902"/>
                  </a:lnTo>
                  <a:lnTo>
                    <a:pt x="4257829" y="1362550"/>
                  </a:lnTo>
                  <a:cubicBezTo>
                    <a:pt x="4150983" y="1327980"/>
                    <a:pt x="4033137" y="1353120"/>
                    <a:pt x="3946717" y="1425400"/>
                  </a:cubicBezTo>
                  <a:cubicBezTo>
                    <a:pt x="3611078" y="1712576"/>
                    <a:pt x="3230776" y="1942740"/>
                    <a:pt x="2822688" y="2106956"/>
                  </a:cubicBezTo>
                  <a:lnTo>
                    <a:pt x="2695250" y="2154824"/>
                  </a:lnTo>
                  <a:lnTo>
                    <a:pt x="0" y="2154824"/>
                  </a:lnTo>
                  <a:lnTo>
                    <a:pt x="0" y="740419"/>
                  </a:lnTo>
                  <a:lnTo>
                    <a:pt x="118632" y="806582"/>
                  </a:lnTo>
                  <a:cubicBezTo>
                    <a:pt x="193529" y="843874"/>
                    <a:pt x="270712" y="877908"/>
                    <a:pt x="350061" y="908450"/>
                  </a:cubicBezTo>
                  <a:cubicBezTo>
                    <a:pt x="1368251" y="1301270"/>
                    <a:pt x="2460289" y="1040438"/>
                    <a:pt x="3194075" y="352218"/>
                  </a:cubicBezTo>
                  <a:cubicBezTo>
                    <a:pt x="3452158" y="109455"/>
                    <a:pt x="3793320" y="-13105"/>
                    <a:pt x="4138019" y="111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0C7EEF9-ADF4-4631-AA57-555725CE63FA}"/>
                </a:ext>
              </a:extLst>
            </p:cNvPr>
            <p:cNvSpPr/>
            <p:nvPr/>
          </p:nvSpPr>
          <p:spPr>
            <a:xfrm>
              <a:off x="0" y="3176"/>
              <a:ext cx="1507086" cy="714076"/>
            </a:xfrm>
            <a:custGeom>
              <a:avLst/>
              <a:gdLst>
                <a:gd name="connsiteX0" fmla="*/ 0 w 1507086"/>
                <a:gd name="connsiteY0" fmla="*/ 0 h 714076"/>
                <a:gd name="connsiteX1" fmla="*/ 1507086 w 1507086"/>
                <a:gd name="connsiteY1" fmla="*/ 0 h 714076"/>
                <a:gd name="connsiteX2" fmla="*/ 1369822 w 1507086"/>
                <a:gd name="connsiteY2" fmla="*/ 136712 h 714076"/>
                <a:gd name="connsiteX3" fmla="*/ 791591 w 1507086"/>
                <a:gd name="connsiteY3" fmla="*/ 416948 h 714076"/>
                <a:gd name="connsiteX4" fmla="*/ 86039 w 1507086"/>
                <a:gd name="connsiteY4" fmla="*/ 665873 h 714076"/>
                <a:gd name="connsiteX5" fmla="*/ 0 w 1507086"/>
                <a:gd name="connsiteY5" fmla="*/ 714076 h 714076"/>
                <a:gd name="connsiteX6" fmla="*/ 0 w 1507086"/>
                <a:gd name="connsiteY6" fmla="*/ 0 h 71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7086" h="714076">
                  <a:moveTo>
                    <a:pt x="0" y="0"/>
                  </a:moveTo>
                  <a:lnTo>
                    <a:pt x="1507086" y="0"/>
                  </a:lnTo>
                  <a:lnTo>
                    <a:pt x="1369822" y="136712"/>
                  </a:lnTo>
                  <a:cubicBezTo>
                    <a:pt x="1206468" y="274705"/>
                    <a:pt x="1008869" y="372757"/>
                    <a:pt x="791591" y="416948"/>
                  </a:cubicBezTo>
                  <a:cubicBezTo>
                    <a:pt x="545294" y="467229"/>
                    <a:pt x="307834" y="551391"/>
                    <a:pt x="86039" y="665873"/>
                  </a:cubicBezTo>
                  <a:lnTo>
                    <a:pt x="0" y="7140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C69B36-147E-A146-B44D-39F44768C1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E9C4718-D106-40FD-93E1-4D4F28E41E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7266" y="6362700"/>
            <a:ext cx="1342590" cy="150961"/>
          </a:xfrm>
          <a:prstGeom prst="rect">
            <a:avLst/>
          </a:prstGeom>
        </p:spPr>
      </p:pic>
      <p:pic>
        <p:nvPicPr>
          <p:cNvPr id="39948" name="Picture 12">
            <a:extLst>
              <a:ext uri="{FF2B5EF4-FFF2-40B4-BE49-F238E27FC236}">
                <a16:creationId xmlns:a16="http://schemas.microsoft.com/office/drawing/2014/main" id="{9D9CABB1-465A-4994-84CF-7C9D2A0D0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32273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E30A4411-D1E6-A349-B030-0B572CC66D56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71255" y="1914525"/>
            <a:ext cx="9937750" cy="3987800"/>
          </a:xfrm>
          <a:prstGeom prst="rect">
            <a:avLst/>
          </a:prstGeom>
        </p:spPr>
        <p:txBody>
          <a:bodyPr/>
          <a:lstStyle/>
          <a:p>
            <a:endParaRPr lang="ro-RO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4236918-2A81-0748-B950-789BA0D88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9936448" cy="751294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C69B36-147E-A146-B44D-39F44768C1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545A2-C569-5C4D-8556-4771E90EDC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6191397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9DB415C-6065-064A-AE4F-475C320B016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79493" y="1914525"/>
            <a:ext cx="9937750" cy="3987800"/>
          </a:xfrm>
          <a:prstGeom prst="rect">
            <a:avLst/>
          </a:prstGeom>
        </p:spPr>
        <p:txBody>
          <a:bodyPr/>
          <a:lstStyle/>
          <a:p>
            <a:endParaRPr lang="ro-RO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4236918-2A81-0748-B950-789BA0D88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9936448" cy="751294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C69B36-147E-A146-B44D-39F44768C1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545A2-C569-5C4D-8556-4771E90EDC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44626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4FFCC1FC-45CA-FC42-9526-28F0267AF05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47502" y="1914939"/>
            <a:ext cx="5103998" cy="39876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/>
            </a:lvl1pPr>
            <a:lvl2pPr>
              <a:lnSpc>
                <a:spcPct val="100000"/>
              </a:lnSpc>
              <a:defRPr sz="2800"/>
            </a:lvl2pPr>
            <a:lvl3pPr>
              <a:lnSpc>
                <a:spcPct val="100000"/>
              </a:lnSpc>
              <a:defRPr sz="2800"/>
            </a:lvl3pPr>
            <a:lvl4pPr>
              <a:lnSpc>
                <a:spcPct val="100000"/>
              </a:lnSpc>
              <a:defRPr sz="2800"/>
            </a:lvl4pPr>
            <a:lvl5pPr>
              <a:lnSpc>
                <a:spcPct val="100000"/>
              </a:lnSpc>
              <a:defRPr sz="2800"/>
            </a:lvl5pPr>
          </a:lstStyle>
          <a:p>
            <a:pPr lvl="0"/>
            <a:r>
              <a:rPr lang="en-US"/>
              <a:t>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o-RO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2E326DD9-9D78-A442-ACCA-8CCD5461B13E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48400" y="1914939"/>
            <a:ext cx="5105401" cy="39876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/>
            </a:lvl1pPr>
            <a:lvl2pPr>
              <a:lnSpc>
                <a:spcPct val="100000"/>
              </a:lnSpc>
              <a:defRPr sz="2800"/>
            </a:lvl2pPr>
            <a:lvl3pPr>
              <a:lnSpc>
                <a:spcPct val="100000"/>
              </a:lnSpc>
              <a:defRPr sz="2800"/>
            </a:lvl3pPr>
            <a:lvl4pPr>
              <a:lnSpc>
                <a:spcPct val="100000"/>
              </a:lnSpc>
              <a:defRPr sz="2800"/>
            </a:lvl4pPr>
            <a:lvl5pPr>
              <a:lnSpc>
                <a:spcPct val="100000"/>
              </a:lnSpc>
              <a:defRPr sz="2800"/>
            </a:lvl5pPr>
          </a:lstStyle>
          <a:p>
            <a:pPr lvl="0"/>
            <a:r>
              <a:rPr lang="en-US"/>
              <a:t>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o-R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86F888-6B92-D843-859C-15FC3764B5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798D65-0313-EF45-B813-321A8E0065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1FB682F-B8E0-C045-BF17-D341B9D52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10803916" cy="751294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6385618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424E40F4-6DDA-1340-BF29-5A443552A7E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48400" y="1914525"/>
            <a:ext cx="5105400" cy="3987800"/>
          </a:xfrm>
          <a:prstGeom prst="rect">
            <a:avLst/>
          </a:prstGeom>
        </p:spPr>
        <p:txBody>
          <a:bodyPr/>
          <a:lstStyle/>
          <a:p>
            <a:endParaRPr lang="ro-RO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4FFCC1FC-45CA-FC42-9526-28F0267AF05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47502" y="1914939"/>
            <a:ext cx="5103998" cy="39876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/>
            </a:lvl1pPr>
            <a:lvl2pPr>
              <a:lnSpc>
                <a:spcPct val="100000"/>
              </a:lnSpc>
              <a:defRPr sz="2800"/>
            </a:lvl2pPr>
            <a:lvl3pPr>
              <a:lnSpc>
                <a:spcPct val="100000"/>
              </a:lnSpc>
              <a:defRPr sz="2800"/>
            </a:lvl3pPr>
            <a:lvl4pPr>
              <a:lnSpc>
                <a:spcPct val="100000"/>
              </a:lnSpc>
              <a:defRPr sz="2800"/>
            </a:lvl4pPr>
            <a:lvl5pPr>
              <a:lnSpc>
                <a:spcPct val="100000"/>
              </a:lnSpc>
              <a:defRPr sz="2800"/>
            </a:lvl5pPr>
          </a:lstStyle>
          <a:p>
            <a:pPr lvl="0"/>
            <a:r>
              <a:rPr lang="en-US"/>
              <a:t>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o-R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86F888-6B92-D843-859C-15FC3764B5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798D65-0313-EF45-B813-321A8E0065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1FB682F-B8E0-C045-BF17-D341B9D52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10803916" cy="751294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4265540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6F659F2B-4796-4244-910F-9B0A540DDDF2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6253163" y="2046330"/>
            <a:ext cx="5100637" cy="3856253"/>
          </a:xfrm>
          <a:prstGeom prst="rect">
            <a:avLst/>
          </a:prstGeom>
        </p:spPr>
        <p:txBody>
          <a:bodyPr/>
          <a:lstStyle/>
          <a:p>
            <a:endParaRPr lang="ro-RO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4FFCC1FC-45CA-FC42-9526-28F0267AF05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47502" y="1914939"/>
            <a:ext cx="5103998" cy="39876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/>
            </a:lvl1pPr>
            <a:lvl2pPr>
              <a:lnSpc>
                <a:spcPct val="100000"/>
              </a:lnSpc>
              <a:defRPr sz="2800"/>
            </a:lvl2pPr>
            <a:lvl3pPr>
              <a:lnSpc>
                <a:spcPct val="100000"/>
              </a:lnSpc>
              <a:defRPr sz="2800"/>
            </a:lvl3pPr>
            <a:lvl4pPr>
              <a:lnSpc>
                <a:spcPct val="100000"/>
              </a:lnSpc>
              <a:defRPr sz="2800"/>
            </a:lvl4pPr>
            <a:lvl5pPr>
              <a:lnSpc>
                <a:spcPct val="100000"/>
              </a:lnSpc>
              <a:defRPr sz="2800"/>
            </a:lvl5pPr>
          </a:lstStyle>
          <a:p>
            <a:pPr lvl="0"/>
            <a:r>
              <a:rPr lang="en-US"/>
              <a:t>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o-R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86F888-6B92-D843-859C-15FC3764B5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798D65-0313-EF45-B813-321A8E0065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1FB682F-B8E0-C045-BF17-D341B9D52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10803916" cy="751294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9801534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002105-CDC3-5644-BFED-C905D88308E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3752" y="1914939"/>
            <a:ext cx="4695124" cy="452991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800" b="0">
                <a:solidFill>
                  <a:srgbClr val="F89AB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E80E4E-2D66-A542-9C21-A439CFF0104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3752" y="2541180"/>
            <a:ext cx="4695124" cy="336140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/>
            </a:lvl1pPr>
            <a:lvl2pPr>
              <a:lnSpc>
                <a:spcPct val="100000"/>
              </a:lnSpc>
              <a:defRPr sz="2800"/>
            </a:lvl2pPr>
            <a:lvl3pPr>
              <a:lnSpc>
                <a:spcPct val="100000"/>
              </a:lnSpc>
              <a:defRPr sz="2800"/>
            </a:lvl3pPr>
            <a:lvl4pPr>
              <a:lnSpc>
                <a:spcPct val="100000"/>
              </a:lnSpc>
              <a:defRPr sz="2800"/>
            </a:lvl4pPr>
            <a:lvl5pPr>
              <a:lnSpc>
                <a:spcPct val="100000"/>
              </a:lnSpc>
              <a:defRPr sz="2800"/>
            </a:lvl5pPr>
          </a:lstStyle>
          <a:p>
            <a:pPr lvl="0"/>
            <a:r>
              <a:rPr lang="en-US"/>
              <a:t>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o-RO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A0AFF6-5DE4-4B46-879F-278E4BD7936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562165" y="1914939"/>
            <a:ext cx="4791635" cy="452991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800" b="0">
                <a:solidFill>
                  <a:srgbClr val="F89AB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257DA09-5D8D-D741-A8E6-C6823DCF143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562165" y="2541180"/>
            <a:ext cx="4791635" cy="336140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/>
            </a:lvl1pPr>
            <a:lvl2pPr>
              <a:lnSpc>
                <a:spcPct val="100000"/>
              </a:lnSpc>
              <a:defRPr sz="2800"/>
            </a:lvl2pPr>
            <a:lvl3pPr>
              <a:lnSpc>
                <a:spcPct val="100000"/>
              </a:lnSpc>
              <a:defRPr sz="2800"/>
            </a:lvl3pPr>
            <a:lvl4pPr>
              <a:lnSpc>
                <a:spcPct val="100000"/>
              </a:lnSpc>
              <a:defRPr sz="2800"/>
            </a:lvl4pPr>
            <a:lvl5pPr>
              <a:lnSpc>
                <a:spcPct val="100000"/>
              </a:lnSpc>
              <a:defRPr sz="2800"/>
            </a:lvl5pPr>
          </a:lstStyle>
          <a:p>
            <a:pPr lvl="0"/>
            <a:r>
              <a:rPr lang="en-US"/>
              <a:t>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o-R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67F2F6-61F5-774A-B5F5-89434B956A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09BFB4-D916-1145-BDD5-879AADC0C0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BE02731-CB49-9340-843C-E9470FABB2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10803916" cy="751294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2825338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F636F5-590A-6F4A-953F-17EF634239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0FD4B3-53C9-F148-8F04-62D7462102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636415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66AD44F-DB08-C445-B98D-12BE1F6E99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352" y="1152782"/>
            <a:ext cx="4589748" cy="1196717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B51C5A0-75C2-254D-9EDD-D2845B0848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42100" y="495300"/>
            <a:ext cx="5003800" cy="24765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5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text</a:t>
            </a:r>
            <a:endParaRPr lang="ro-R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BCE4B9-F06A-BD4E-9693-4D7E7F40C99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88745E-F5DD-FA4D-BAC8-68B02E1BC0E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6DDD664-7A8B-254D-8420-77EB9B355A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2700" y="3441700"/>
            <a:ext cx="12217400" cy="3416300"/>
          </a:xfrm>
          <a:prstGeom prst="rect">
            <a:avLst/>
          </a:prstGeom>
        </p:spPr>
        <p:txBody>
          <a:bodyPr/>
          <a:lstStyle/>
          <a:p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787138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icture containing rainbow, nature&#10;&#10;Description automatically generated">
            <a:extLst>
              <a:ext uri="{FF2B5EF4-FFF2-40B4-BE49-F238E27FC236}">
                <a16:creationId xmlns:a16="http://schemas.microsoft.com/office/drawing/2014/main" id="{DE73AB6B-AF77-4C8A-AA09-0B046B7FF4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707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69D357F-3C90-4167-97D4-920D286D1D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6000" y="1112730"/>
            <a:ext cx="4617732" cy="519218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53F2365C-52A1-49C6-82B2-76E4FC3F8B2C}"/>
              </a:ext>
            </a:extLst>
          </p:cNvPr>
          <p:cNvGrpSpPr/>
          <p:nvPr userDrawn="1"/>
        </p:nvGrpSpPr>
        <p:grpSpPr>
          <a:xfrm>
            <a:off x="3176" y="0"/>
            <a:ext cx="12188825" cy="6858000"/>
            <a:chOff x="3176" y="0"/>
            <a:chExt cx="12188825" cy="6858000"/>
          </a:xfrm>
          <a:gradFill>
            <a:gsLst>
              <a:gs pos="0">
                <a:schemeClr val="bg1">
                  <a:alpha val="19000"/>
                </a:schemeClr>
              </a:gs>
              <a:gs pos="99115">
                <a:schemeClr val="bg1">
                  <a:alpha val="0"/>
                </a:schemeClr>
              </a:gs>
            </a:gsLst>
            <a:lin ang="1800000" scaled="0"/>
          </a:gra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33027FC-51F9-4C64-B539-B1402F8FEA0D}"/>
                </a:ext>
              </a:extLst>
            </p:cNvPr>
            <p:cNvSpPr/>
            <p:nvPr/>
          </p:nvSpPr>
          <p:spPr>
            <a:xfrm>
              <a:off x="1069786" y="0"/>
              <a:ext cx="4246326" cy="6858000"/>
            </a:xfrm>
            <a:custGeom>
              <a:avLst/>
              <a:gdLst>
                <a:gd name="connsiteX0" fmla="*/ 909425 w 4240867"/>
                <a:gd name="connsiteY0" fmla="*/ 0 h 6849184"/>
                <a:gd name="connsiteX1" fmla="*/ 1969793 w 4240867"/>
                <a:gd name="connsiteY1" fmla="*/ 0 h 6849184"/>
                <a:gd name="connsiteX2" fmla="*/ 1969927 w 4240867"/>
                <a:gd name="connsiteY2" fmla="*/ 60334 h 6849184"/>
                <a:gd name="connsiteX3" fmla="*/ 1159340 w 4240867"/>
                <a:gd name="connsiteY3" fmla="*/ 2118617 h 6849184"/>
                <a:gd name="connsiteX4" fmla="*/ 1105092 w 4240867"/>
                <a:gd name="connsiteY4" fmla="*/ 2370859 h 6849184"/>
                <a:gd name="connsiteX5" fmla="*/ 1732988 w 4240867"/>
                <a:gd name="connsiteY5" fmla="*/ 4419993 h 6849184"/>
                <a:gd name="connsiteX6" fmla="*/ 1918777 w 4240867"/>
                <a:gd name="connsiteY6" fmla="*/ 4599003 h 6849184"/>
                <a:gd name="connsiteX7" fmla="*/ 3923157 w 4240867"/>
                <a:gd name="connsiteY7" fmla="*/ 6126021 h 6849184"/>
                <a:gd name="connsiteX8" fmla="*/ 4213371 w 4240867"/>
                <a:gd name="connsiteY8" fmla="*/ 6793243 h 6849184"/>
                <a:gd name="connsiteX9" fmla="*/ 4235094 w 4240867"/>
                <a:gd name="connsiteY9" fmla="*/ 6841128 h 6849184"/>
                <a:gd name="connsiteX10" fmla="*/ 4240867 w 4240867"/>
                <a:gd name="connsiteY10" fmla="*/ 6849184 h 6849184"/>
                <a:gd name="connsiteX11" fmla="*/ 3100492 w 4240867"/>
                <a:gd name="connsiteY11" fmla="*/ 6849184 h 6849184"/>
                <a:gd name="connsiteX12" fmla="*/ 3078684 w 4240867"/>
                <a:gd name="connsiteY12" fmla="*/ 6799930 h 6849184"/>
                <a:gd name="connsiteX13" fmla="*/ 3018610 w 4240867"/>
                <a:gd name="connsiteY13" fmla="*/ 6682039 h 6849184"/>
                <a:gd name="connsiteX14" fmla="*/ 1558045 w 4240867"/>
                <a:gd name="connsiteY14" fmla="*/ 5602549 h 6849184"/>
                <a:gd name="connsiteX15" fmla="*/ 763343 w 4240867"/>
                <a:gd name="connsiteY15" fmla="*/ 4875653 h 6849184"/>
                <a:gd name="connsiteX16" fmla="*/ 47303 w 4240867"/>
                <a:gd name="connsiteY16" fmla="*/ 2540377 h 6849184"/>
                <a:gd name="connsiteX17" fmla="*/ 287340 w 4240867"/>
                <a:gd name="connsiteY17" fmla="*/ 1504283 h 6849184"/>
                <a:gd name="connsiteX18" fmla="*/ 908637 w 4240867"/>
                <a:gd name="connsiteY18" fmla="*/ 66904 h 6849184"/>
                <a:gd name="connsiteX19" fmla="*/ 909425 w 4240867"/>
                <a:gd name="connsiteY19" fmla="*/ 0 h 684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240867" h="6849184">
                  <a:moveTo>
                    <a:pt x="909425" y="0"/>
                  </a:moveTo>
                  <a:lnTo>
                    <a:pt x="1969793" y="0"/>
                  </a:lnTo>
                  <a:lnTo>
                    <a:pt x="1969927" y="60334"/>
                  </a:lnTo>
                  <a:cubicBezTo>
                    <a:pt x="1946940" y="824576"/>
                    <a:pt x="1654417" y="1552682"/>
                    <a:pt x="1159340" y="2118617"/>
                  </a:cubicBezTo>
                  <a:cubicBezTo>
                    <a:pt x="1098313" y="2187781"/>
                    <a:pt x="1077970" y="2282709"/>
                    <a:pt x="1105092" y="2370859"/>
                  </a:cubicBezTo>
                  <a:lnTo>
                    <a:pt x="1732988" y="4419993"/>
                  </a:lnTo>
                  <a:cubicBezTo>
                    <a:pt x="1758756" y="4508143"/>
                    <a:pt x="1830629" y="4575949"/>
                    <a:pt x="1918777" y="4599003"/>
                  </a:cubicBezTo>
                  <a:cubicBezTo>
                    <a:pt x="2751452" y="4817345"/>
                    <a:pt x="3489193" y="5355729"/>
                    <a:pt x="3923157" y="6126021"/>
                  </a:cubicBezTo>
                  <a:cubicBezTo>
                    <a:pt x="4053350" y="6357921"/>
                    <a:pt x="4152344" y="6611515"/>
                    <a:pt x="4213371" y="6793243"/>
                  </a:cubicBezTo>
                  <a:cubicBezTo>
                    <a:pt x="4219135" y="6810195"/>
                    <a:pt x="4226446" y="6826193"/>
                    <a:pt x="4235094" y="6841128"/>
                  </a:cubicBezTo>
                  <a:lnTo>
                    <a:pt x="4240867" y="6849184"/>
                  </a:lnTo>
                  <a:lnTo>
                    <a:pt x="3100492" y="6849184"/>
                  </a:lnTo>
                  <a:lnTo>
                    <a:pt x="3078684" y="6799930"/>
                  </a:lnTo>
                  <a:cubicBezTo>
                    <a:pt x="3059994" y="6760420"/>
                    <a:pt x="3039970" y="6720859"/>
                    <a:pt x="3018610" y="6682039"/>
                  </a:cubicBezTo>
                  <a:cubicBezTo>
                    <a:pt x="2709408" y="6120595"/>
                    <a:pt x="2168306" y="5734095"/>
                    <a:pt x="1558045" y="5602549"/>
                  </a:cubicBezTo>
                  <a:cubicBezTo>
                    <a:pt x="1181036" y="5521181"/>
                    <a:pt x="875905" y="5244525"/>
                    <a:pt x="763343" y="4875653"/>
                  </a:cubicBezTo>
                  <a:lnTo>
                    <a:pt x="47303" y="2540377"/>
                  </a:lnTo>
                  <a:cubicBezTo>
                    <a:pt x="-63901" y="2176931"/>
                    <a:pt x="22894" y="1776867"/>
                    <a:pt x="287340" y="1504283"/>
                  </a:cubicBezTo>
                  <a:cubicBezTo>
                    <a:pt x="659347" y="1120159"/>
                    <a:pt x="883926" y="607834"/>
                    <a:pt x="908637" y="66904"/>
                  </a:cubicBezTo>
                  <a:lnTo>
                    <a:pt x="909425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42E1189-BCE6-4F19-B177-813314F713FD}"/>
                </a:ext>
              </a:extLst>
            </p:cNvPr>
            <p:cNvSpPr/>
            <p:nvPr/>
          </p:nvSpPr>
          <p:spPr>
            <a:xfrm>
              <a:off x="3176" y="2628086"/>
              <a:ext cx="861505" cy="4221099"/>
            </a:xfrm>
            <a:custGeom>
              <a:avLst/>
              <a:gdLst>
                <a:gd name="connsiteX0" fmla="*/ 0 w 861505"/>
                <a:gd name="connsiteY0" fmla="*/ 0 h 4221099"/>
                <a:gd name="connsiteX1" fmla="*/ 48026 w 861505"/>
                <a:gd name="connsiteY1" fmla="*/ 89315 h 4221099"/>
                <a:gd name="connsiteX2" fmla="*/ 98161 w 861505"/>
                <a:gd name="connsiteY2" fmla="*/ 221496 h 4221099"/>
                <a:gd name="connsiteX3" fmla="*/ 814201 w 861505"/>
                <a:gd name="connsiteY3" fmla="*/ 2558126 h 4221099"/>
                <a:gd name="connsiteX4" fmla="*/ 574164 w 861505"/>
                <a:gd name="connsiteY4" fmla="*/ 3594224 h 4221099"/>
                <a:gd name="connsiteX5" fmla="*/ 163190 w 861505"/>
                <a:gd name="connsiteY5" fmla="*/ 4188140 h 4221099"/>
                <a:gd name="connsiteX6" fmla="*/ 148891 w 861505"/>
                <a:gd name="connsiteY6" fmla="*/ 4221099 h 4221099"/>
                <a:gd name="connsiteX7" fmla="*/ 0 w 861505"/>
                <a:gd name="connsiteY7" fmla="*/ 4221099 h 4221099"/>
                <a:gd name="connsiteX8" fmla="*/ 0 w 861505"/>
                <a:gd name="connsiteY8" fmla="*/ 0 h 422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1505" h="4221099">
                  <a:moveTo>
                    <a:pt x="0" y="0"/>
                  </a:moveTo>
                  <a:lnTo>
                    <a:pt x="48026" y="89315"/>
                  </a:lnTo>
                  <a:cubicBezTo>
                    <a:pt x="67478" y="131927"/>
                    <a:pt x="84261" y="176065"/>
                    <a:pt x="98161" y="221496"/>
                  </a:cubicBezTo>
                  <a:lnTo>
                    <a:pt x="814201" y="2558126"/>
                  </a:lnTo>
                  <a:cubicBezTo>
                    <a:pt x="925405" y="2921578"/>
                    <a:pt x="838615" y="3320282"/>
                    <a:pt x="574164" y="3594224"/>
                  </a:cubicBezTo>
                  <a:cubicBezTo>
                    <a:pt x="405071" y="3768826"/>
                    <a:pt x="266438" y="3969916"/>
                    <a:pt x="163190" y="4188140"/>
                  </a:cubicBezTo>
                  <a:lnTo>
                    <a:pt x="148891" y="4221099"/>
                  </a:lnTo>
                  <a:lnTo>
                    <a:pt x="0" y="422109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926A7CB-3297-417D-844A-2F03858946EE}"/>
                </a:ext>
              </a:extLst>
            </p:cNvPr>
            <p:cNvSpPr/>
            <p:nvPr/>
          </p:nvSpPr>
          <p:spPr>
            <a:xfrm>
              <a:off x="5977306" y="4943508"/>
              <a:ext cx="6214695" cy="1905677"/>
            </a:xfrm>
            <a:custGeom>
              <a:avLst/>
              <a:gdLst>
                <a:gd name="connsiteX0" fmla="*/ 6214695 w 6214695"/>
                <a:gd name="connsiteY0" fmla="*/ 0 h 1905677"/>
                <a:gd name="connsiteX1" fmla="*/ 6214695 w 6214695"/>
                <a:gd name="connsiteY1" fmla="*/ 1109586 h 1905677"/>
                <a:gd name="connsiteX2" fmla="*/ 3618511 w 6214695"/>
                <a:gd name="connsiteY2" fmla="*/ 1905677 h 1905677"/>
                <a:gd name="connsiteX3" fmla="*/ 0 w 6214695"/>
                <a:gd name="connsiteY3" fmla="*/ 1905677 h 1905677"/>
                <a:gd name="connsiteX4" fmla="*/ 6214695 w 6214695"/>
                <a:gd name="connsiteY4" fmla="*/ 0 h 1905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14695" h="1905677">
                  <a:moveTo>
                    <a:pt x="6214695" y="0"/>
                  </a:moveTo>
                  <a:lnTo>
                    <a:pt x="6214695" y="1109586"/>
                  </a:lnTo>
                  <a:lnTo>
                    <a:pt x="3618511" y="1905677"/>
                  </a:lnTo>
                  <a:lnTo>
                    <a:pt x="0" y="1905677"/>
                  </a:lnTo>
                  <a:lnTo>
                    <a:pt x="6214695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0A7DA5D6-C88F-DD49-A801-454F40CDF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5601" y="3371943"/>
            <a:ext cx="6548131" cy="1240336"/>
          </a:xfrm>
          <a:prstGeom prst="rect">
            <a:avLst/>
          </a:prstGeom>
        </p:spPr>
        <p:txBody>
          <a:bodyPr vert="horz" lIns="0" rIns="0" anchor="b"/>
          <a:lstStyle>
            <a:lvl1pPr algn="r">
              <a:lnSpc>
                <a:spcPct val="100000"/>
              </a:lnSpc>
              <a:defRPr sz="54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  <a:endParaRPr lang="ro-RO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A0AF4DA-04EA-8E43-B1EC-D611A4C7A60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54510" y="4943508"/>
            <a:ext cx="4259222" cy="567376"/>
          </a:xfrm>
          <a:prstGeom prst="rect">
            <a:avLst/>
          </a:prstGeom>
        </p:spPr>
        <p:txBody>
          <a:bodyPr lIns="0" rIns="0"/>
          <a:lstStyle>
            <a:lvl1pPr marL="0" indent="0" algn="r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pic>
        <p:nvPicPr>
          <p:cNvPr id="3088" name="Picture 16">
            <a:extLst>
              <a:ext uri="{FF2B5EF4-FFF2-40B4-BE49-F238E27FC236}">
                <a16:creationId xmlns:a16="http://schemas.microsoft.com/office/drawing/2014/main" id="{82FCE50E-9C27-4727-9F51-1D0D6068C0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85537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itl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66AD44F-DB08-C445-B98D-12BE1F6E99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6450" y="505083"/>
            <a:ext cx="4013787" cy="1152176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B51C5A0-75C2-254D-9EDD-D2845B0848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6451" y="2583713"/>
            <a:ext cx="3591254" cy="272488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5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text</a:t>
            </a:r>
            <a:endParaRPr lang="ro-R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B11472-0BEE-0245-B85D-C118C62155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BD9530-7D51-FC4B-A9D0-3C5269798B2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6DDD664-7A8B-254D-8420-77EB9B355A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87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6187223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000" y="-15306"/>
            <a:ext cx="12240000" cy="688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517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6" descr="FORTBRIDGE footer map">
            <a:extLst>
              <a:ext uri="{FF2B5EF4-FFF2-40B4-BE49-F238E27FC236}">
                <a16:creationId xmlns:a16="http://schemas.microsoft.com/office/drawing/2014/main" id="{67820950-5095-47AC-AA8C-FAD921E241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11" t="9161" r="57199" b="9161"/>
          <a:stretch/>
        </p:blipFill>
        <p:spPr bwMode="auto">
          <a:xfrm>
            <a:off x="6456345" y="762000"/>
            <a:ext cx="3838836" cy="383883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F359F62-B1A9-42B9-BA58-DCD4BA59AA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5096" t="74914" r="27034"/>
          <a:stretch/>
        </p:blipFill>
        <p:spPr>
          <a:xfrm>
            <a:off x="2514987" y="0"/>
            <a:ext cx="9677013" cy="54369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8827" t="79574" r="68810" b="14670"/>
          <a:stretch/>
        </p:blipFill>
        <p:spPr>
          <a:xfrm>
            <a:off x="985023" y="5737445"/>
            <a:ext cx="2717801" cy="393701"/>
          </a:xfrm>
          <a:prstGeom prst="rect">
            <a:avLst/>
          </a:prstGeom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574B526-2561-4C43-A545-A25A135C58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173" y="4135545"/>
            <a:ext cx="3175599" cy="290473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00000"/>
              </a:lnSpc>
              <a:buNone/>
              <a:defRPr sz="1200" b="1">
                <a:solidFill>
                  <a:srgbClr val="5F47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</a:t>
            </a:r>
            <a:r>
              <a:rPr lang="ro-RO" err="1"/>
              <a:t>name</a:t>
            </a:r>
            <a:endParaRPr lang="ro-RO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74F0D385-9660-8C46-A2F1-3593D6B81C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174" y="4934456"/>
            <a:ext cx="3175598" cy="439315"/>
          </a:xfrm>
          <a:prstGeom prst="rect">
            <a:avLst/>
          </a:prstGeom>
        </p:spPr>
        <p:txBody>
          <a:bodyPr lIns="0"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contact </a:t>
            </a:r>
            <a:r>
              <a:rPr lang="ro-RO" err="1"/>
              <a:t>information</a:t>
            </a:r>
            <a:endParaRPr lang="ro-RO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018BD13-834B-9F48-9169-ADD9F9E102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2174" y="4440556"/>
            <a:ext cx="3175598" cy="281852"/>
          </a:xfrm>
          <a:prstGeom prst="rect">
            <a:avLst/>
          </a:prstGeom>
        </p:spPr>
        <p:txBody>
          <a:bodyPr lIns="0" rIns="0" anchor="t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>
                <a:solidFill>
                  <a:srgbClr val="10CF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</a:t>
            </a:r>
            <a:r>
              <a:rPr lang="ro-RO" err="1"/>
              <a:t>position</a:t>
            </a:r>
            <a:r>
              <a:rPr lang="ro-RO"/>
              <a:t> </a:t>
            </a:r>
            <a:r>
              <a:rPr lang="ro-RO" err="1"/>
              <a:t>title</a:t>
            </a:r>
            <a:endParaRPr lang="ro-RO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14704A4-C0C9-4227-959B-46F97E0646B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2174" y="3619240"/>
            <a:ext cx="2945626" cy="331206"/>
          </a:xfrm>
          <a:prstGeom prst="rect">
            <a:avLst/>
          </a:prstGeom>
        </p:spPr>
      </p:pic>
      <p:pic>
        <p:nvPicPr>
          <p:cNvPr id="28685" name="Picture 13">
            <a:extLst>
              <a:ext uri="{FF2B5EF4-FFF2-40B4-BE49-F238E27FC236}">
                <a16:creationId xmlns:a16="http://schemas.microsoft.com/office/drawing/2014/main" id="{3B3BEC76-92DA-4078-B74A-9E4C96080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76674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 descr="A picture containing rainbow, nature&#10;&#10;Description automatically generated">
            <a:extLst>
              <a:ext uri="{FF2B5EF4-FFF2-40B4-BE49-F238E27FC236}">
                <a16:creationId xmlns:a16="http://schemas.microsoft.com/office/drawing/2014/main" id="{A7AEAD64-2264-41AA-B141-87877236F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9947"/>
          <a:stretch/>
        </p:blipFill>
        <p:spPr>
          <a:xfrm>
            <a:off x="0" y="0"/>
            <a:ext cx="12192000" cy="59073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A7DA5D6-C88F-DD49-A801-454F40CDF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4114" y="1701641"/>
            <a:ext cx="5863772" cy="1240336"/>
          </a:xfrm>
          <a:prstGeom prst="rect">
            <a:avLst/>
          </a:prstGeom>
        </p:spPr>
        <p:txBody>
          <a:bodyPr vert="horz" anchor="t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  <a:endParaRPr lang="ro-RO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A0AF4DA-04EA-8E43-B1EC-D611A4C7A60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64114" y="3090259"/>
            <a:ext cx="5863772" cy="56737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29502D4-9EDF-4F80-9F10-92511534A1C8}"/>
              </a:ext>
            </a:extLst>
          </p:cNvPr>
          <p:cNvGrpSpPr/>
          <p:nvPr userDrawn="1"/>
        </p:nvGrpSpPr>
        <p:grpSpPr>
          <a:xfrm>
            <a:off x="0" y="-1"/>
            <a:ext cx="12192001" cy="6858000"/>
            <a:chOff x="0" y="-1"/>
            <a:chExt cx="12192001" cy="6858000"/>
          </a:xfrm>
          <a:gradFill>
            <a:gsLst>
              <a:gs pos="100000">
                <a:srgbClr val="FFFFFF">
                  <a:alpha val="0"/>
                </a:srgbClr>
              </a:gs>
              <a:gs pos="0">
                <a:schemeClr val="bg1">
                  <a:alpha val="9000"/>
                </a:schemeClr>
              </a:gs>
            </a:gsLst>
            <a:lin ang="1800000" scaled="0"/>
          </a:gradFill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9405C1B-700B-4AA3-B23F-9216D438A439}"/>
                </a:ext>
              </a:extLst>
            </p:cNvPr>
            <p:cNvSpPr/>
            <p:nvPr userDrawn="1"/>
          </p:nvSpPr>
          <p:spPr>
            <a:xfrm>
              <a:off x="2215510" y="-1"/>
              <a:ext cx="9976491" cy="4563700"/>
            </a:xfrm>
            <a:custGeom>
              <a:avLst/>
              <a:gdLst>
                <a:gd name="connsiteX0" fmla="*/ 531360 w 9976491"/>
                <a:gd name="connsiteY0" fmla="*/ 0 h 4563700"/>
                <a:gd name="connsiteX1" fmla="*/ 1221397 w 9976491"/>
                <a:gd name="connsiteY1" fmla="*/ 0 h 4563700"/>
                <a:gd name="connsiteX2" fmla="*/ 1204386 w 9976491"/>
                <a:gd name="connsiteY2" fmla="*/ 87398 h 4563700"/>
                <a:gd name="connsiteX3" fmla="*/ 736619 w 9976491"/>
                <a:gd name="connsiteY3" fmla="*/ 1001449 h 4563700"/>
                <a:gd name="connsiteX4" fmla="*/ 701771 w 9976491"/>
                <a:gd name="connsiteY4" fmla="*/ 1161430 h 4563700"/>
                <a:gd name="connsiteX5" fmla="*/ 1340112 w 9976491"/>
                <a:gd name="connsiteY5" fmla="*/ 3266529 h 4563700"/>
                <a:gd name="connsiteX6" fmla="*/ 1457326 w 9976491"/>
                <a:gd name="connsiteY6" fmla="*/ 3379782 h 4563700"/>
                <a:gd name="connsiteX7" fmla="*/ 2297622 w 9976491"/>
                <a:gd name="connsiteY7" fmla="*/ 3828839 h 4563700"/>
                <a:gd name="connsiteX8" fmla="*/ 2456020 w 9976491"/>
                <a:gd name="connsiteY8" fmla="*/ 3863685 h 4563700"/>
                <a:gd name="connsiteX9" fmla="*/ 9976491 w 9976491"/>
                <a:gd name="connsiteY9" fmla="*/ 1584011 h 4563700"/>
                <a:gd name="connsiteX10" fmla="*/ 9976491 w 9976491"/>
                <a:gd name="connsiteY10" fmla="*/ 2286964 h 4563700"/>
                <a:gd name="connsiteX11" fmla="*/ 2559770 w 9976491"/>
                <a:gd name="connsiteY11" fmla="*/ 4535290 h 4563700"/>
                <a:gd name="connsiteX12" fmla="*/ 1892126 w 9976491"/>
                <a:gd name="connsiteY12" fmla="*/ 4370556 h 4563700"/>
                <a:gd name="connsiteX13" fmla="*/ 1230027 w 9976491"/>
                <a:gd name="connsiteY13" fmla="*/ 4016539 h 4563700"/>
                <a:gd name="connsiteX14" fmla="*/ 722363 w 9976491"/>
                <a:gd name="connsiteY14" fmla="*/ 3553227 h 4563700"/>
                <a:gd name="connsiteX15" fmla="*/ 29375 w 9976491"/>
                <a:gd name="connsiteY15" fmla="*/ 1265972 h 4563700"/>
                <a:gd name="connsiteX16" fmla="*/ 183812 w 9976491"/>
                <a:gd name="connsiteY16" fmla="*/ 609416 h 4563700"/>
                <a:gd name="connsiteX17" fmla="*/ 482724 w 9976491"/>
                <a:gd name="connsiteY17" fmla="*/ 149431 h 4563700"/>
                <a:gd name="connsiteX18" fmla="*/ 531360 w 9976491"/>
                <a:gd name="connsiteY18" fmla="*/ 0 h 456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976491" h="4563700">
                  <a:moveTo>
                    <a:pt x="531360" y="0"/>
                  </a:moveTo>
                  <a:lnTo>
                    <a:pt x="1221397" y="0"/>
                  </a:lnTo>
                  <a:lnTo>
                    <a:pt x="1204386" y="87398"/>
                  </a:lnTo>
                  <a:cubicBezTo>
                    <a:pt x="1127266" y="426269"/>
                    <a:pt x="965899" y="741282"/>
                    <a:pt x="736619" y="1001449"/>
                  </a:cubicBezTo>
                  <a:cubicBezTo>
                    <a:pt x="697812" y="1045008"/>
                    <a:pt x="685140" y="1105199"/>
                    <a:pt x="701771" y="1161430"/>
                  </a:cubicBezTo>
                  <a:lnTo>
                    <a:pt x="1340112" y="3266529"/>
                  </a:lnTo>
                  <a:cubicBezTo>
                    <a:pt x="1356744" y="3321968"/>
                    <a:pt x="1401094" y="3364734"/>
                    <a:pt x="1457326" y="3379782"/>
                  </a:cubicBezTo>
                  <a:cubicBezTo>
                    <a:pt x="1767784" y="3462941"/>
                    <a:pt x="2056066" y="3616586"/>
                    <a:pt x="2297622" y="3828839"/>
                  </a:cubicBezTo>
                  <a:cubicBezTo>
                    <a:pt x="2340390" y="3867645"/>
                    <a:pt x="2400580" y="3880318"/>
                    <a:pt x="2456020" y="3863685"/>
                  </a:cubicBezTo>
                  <a:lnTo>
                    <a:pt x="9976491" y="1584011"/>
                  </a:lnTo>
                  <a:lnTo>
                    <a:pt x="9976491" y="2286964"/>
                  </a:lnTo>
                  <a:lnTo>
                    <a:pt x="2559770" y="4535290"/>
                  </a:lnTo>
                  <a:cubicBezTo>
                    <a:pt x="2323758" y="4606569"/>
                    <a:pt x="2071116" y="4540833"/>
                    <a:pt x="1892126" y="4370556"/>
                  </a:cubicBezTo>
                  <a:cubicBezTo>
                    <a:pt x="1707592" y="4194736"/>
                    <a:pt x="1477916" y="4071978"/>
                    <a:pt x="1230027" y="4016539"/>
                  </a:cubicBezTo>
                  <a:cubicBezTo>
                    <a:pt x="989262" y="3962684"/>
                    <a:pt x="793642" y="3788447"/>
                    <a:pt x="722363" y="3553227"/>
                  </a:cubicBezTo>
                  <a:lnTo>
                    <a:pt x="29375" y="1265972"/>
                  </a:lnTo>
                  <a:cubicBezTo>
                    <a:pt x="-40320" y="1035504"/>
                    <a:pt x="15119" y="782068"/>
                    <a:pt x="183812" y="609416"/>
                  </a:cubicBezTo>
                  <a:cubicBezTo>
                    <a:pt x="313005" y="476956"/>
                    <a:pt x="414466" y="320217"/>
                    <a:pt x="482724" y="149431"/>
                  </a:cubicBezTo>
                  <a:lnTo>
                    <a:pt x="53136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6FC93D3-01F5-449A-BFC4-FCEC6D96707C}"/>
                </a:ext>
              </a:extLst>
            </p:cNvPr>
            <p:cNvSpPr/>
            <p:nvPr userDrawn="1"/>
          </p:nvSpPr>
          <p:spPr>
            <a:xfrm>
              <a:off x="0" y="352419"/>
              <a:ext cx="12192000" cy="6505580"/>
            </a:xfrm>
            <a:custGeom>
              <a:avLst/>
              <a:gdLst>
                <a:gd name="connsiteX0" fmla="*/ 0 w 12192000"/>
                <a:gd name="connsiteY0" fmla="*/ 0 h 6505580"/>
                <a:gd name="connsiteX1" fmla="*/ 122186 w 12192000"/>
                <a:gd name="connsiteY1" fmla="*/ 40242 h 6505580"/>
                <a:gd name="connsiteX2" fmla="*/ 355206 w 12192000"/>
                <a:gd name="connsiteY2" fmla="*/ 211060 h 6505580"/>
                <a:gd name="connsiteX3" fmla="*/ 1106801 w 12192000"/>
                <a:gd name="connsiteY3" fmla="*/ 646653 h 6505580"/>
                <a:gd name="connsiteX4" fmla="*/ 1602584 w 12192000"/>
                <a:gd name="connsiteY4" fmla="*/ 1111548 h 6505580"/>
                <a:gd name="connsiteX5" fmla="*/ 2294780 w 12192000"/>
                <a:gd name="connsiteY5" fmla="*/ 3394844 h 6505580"/>
                <a:gd name="connsiteX6" fmla="*/ 2135590 w 12192000"/>
                <a:gd name="connsiteY6" fmla="*/ 4056152 h 6505580"/>
                <a:gd name="connsiteX7" fmla="*/ 1829883 w 12192000"/>
                <a:gd name="connsiteY7" fmla="*/ 5518158 h 6505580"/>
                <a:gd name="connsiteX8" fmla="*/ 3462959 w 12192000"/>
                <a:gd name="connsiteY8" fmla="*/ 6391719 h 6505580"/>
                <a:gd name="connsiteX9" fmla="*/ 4509170 w 12192000"/>
                <a:gd name="connsiteY9" fmla="*/ 5325706 h 6505580"/>
                <a:gd name="connsiteX10" fmla="*/ 4970898 w 12192000"/>
                <a:gd name="connsiteY10" fmla="*/ 4826755 h 6505580"/>
                <a:gd name="connsiteX11" fmla="*/ 12192000 w 12192000"/>
                <a:gd name="connsiteY11" fmla="*/ 2637729 h 6505580"/>
                <a:gd name="connsiteX12" fmla="*/ 12192000 w 12192000"/>
                <a:gd name="connsiteY12" fmla="*/ 3340660 h 6505580"/>
                <a:gd name="connsiteX13" fmla="*/ 5256806 w 12192000"/>
                <a:gd name="connsiteY13" fmla="*/ 5442919 h 6505580"/>
                <a:gd name="connsiteX14" fmla="*/ 5143554 w 12192000"/>
                <a:gd name="connsiteY14" fmla="*/ 5560134 h 6505580"/>
                <a:gd name="connsiteX15" fmla="*/ 4643314 w 12192000"/>
                <a:gd name="connsiteY15" fmla="*/ 6457157 h 6505580"/>
                <a:gd name="connsiteX16" fmla="*/ 4591278 w 12192000"/>
                <a:gd name="connsiteY16" fmla="*/ 6505580 h 6505580"/>
                <a:gd name="connsiteX17" fmla="*/ 1686583 w 12192000"/>
                <a:gd name="connsiteY17" fmla="*/ 6505580 h 6505580"/>
                <a:gd name="connsiteX18" fmla="*/ 1684267 w 12192000"/>
                <a:gd name="connsiteY18" fmla="*/ 6503505 h 6505580"/>
                <a:gd name="connsiteX19" fmla="*/ 1158280 w 12192000"/>
                <a:gd name="connsiteY19" fmla="*/ 5630621 h 6505580"/>
                <a:gd name="connsiteX20" fmla="*/ 1650895 w 12192000"/>
                <a:gd name="connsiteY20" fmla="*/ 3591257 h 6505580"/>
                <a:gd name="connsiteX21" fmla="*/ 984835 w 12192000"/>
                <a:gd name="connsiteY21" fmla="*/ 1394288 h 6505580"/>
                <a:gd name="connsiteX22" fmla="*/ 867620 w 12192000"/>
                <a:gd name="connsiteY22" fmla="*/ 1281033 h 6505580"/>
                <a:gd name="connsiteX23" fmla="*/ 18364 w 12192000"/>
                <a:gd name="connsiteY23" fmla="*/ 823921 h 6505580"/>
                <a:gd name="connsiteX24" fmla="*/ 0 w 12192000"/>
                <a:gd name="connsiteY24" fmla="*/ 806400 h 6505580"/>
                <a:gd name="connsiteX25" fmla="*/ 0 w 12192000"/>
                <a:gd name="connsiteY25" fmla="*/ 0 h 6505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192000" h="6505580">
                  <a:moveTo>
                    <a:pt x="0" y="0"/>
                  </a:moveTo>
                  <a:lnTo>
                    <a:pt x="122186" y="40242"/>
                  </a:lnTo>
                  <a:cubicBezTo>
                    <a:pt x="209270" y="79418"/>
                    <a:pt x="288976" y="137109"/>
                    <a:pt x="355206" y="211060"/>
                  </a:cubicBezTo>
                  <a:cubicBezTo>
                    <a:pt x="553202" y="432025"/>
                    <a:pt x="817726" y="584877"/>
                    <a:pt x="1106801" y="646653"/>
                  </a:cubicBezTo>
                  <a:cubicBezTo>
                    <a:pt x="1344397" y="697340"/>
                    <a:pt x="1532097" y="878705"/>
                    <a:pt x="1602584" y="1111548"/>
                  </a:cubicBezTo>
                  <a:lnTo>
                    <a:pt x="2294780" y="3394844"/>
                  </a:lnTo>
                  <a:cubicBezTo>
                    <a:pt x="2365266" y="3627688"/>
                    <a:pt x="2304283" y="3881123"/>
                    <a:pt x="2135590" y="4056152"/>
                  </a:cubicBezTo>
                  <a:cubicBezTo>
                    <a:pt x="1776029" y="4429177"/>
                    <a:pt x="1634263" y="4990696"/>
                    <a:pt x="1829883" y="5518158"/>
                  </a:cubicBezTo>
                  <a:cubicBezTo>
                    <a:pt x="2073815" y="6175506"/>
                    <a:pt x="2781058" y="6554076"/>
                    <a:pt x="3462959" y="6391719"/>
                  </a:cubicBezTo>
                  <a:cubicBezTo>
                    <a:pt x="4010221" y="6261833"/>
                    <a:pt x="4398294" y="5831784"/>
                    <a:pt x="4509170" y="5325706"/>
                  </a:cubicBezTo>
                  <a:cubicBezTo>
                    <a:pt x="4561442" y="5088110"/>
                    <a:pt x="4738058" y="4897241"/>
                    <a:pt x="4970898" y="4826755"/>
                  </a:cubicBezTo>
                  <a:lnTo>
                    <a:pt x="12192000" y="2637729"/>
                  </a:lnTo>
                  <a:lnTo>
                    <a:pt x="12192000" y="3340660"/>
                  </a:lnTo>
                  <a:lnTo>
                    <a:pt x="5256806" y="5442919"/>
                  </a:lnTo>
                  <a:cubicBezTo>
                    <a:pt x="5201370" y="5459551"/>
                    <a:pt x="5158598" y="5503903"/>
                    <a:pt x="5143554" y="5560134"/>
                  </a:cubicBezTo>
                  <a:cubicBezTo>
                    <a:pt x="5054454" y="5895539"/>
                    <a:pt x="4882197" y="6204810"/>
                    <a:pt x="4643314" y="6457157"/>
                  </a:cubicBezTo>
                  <a:lnTo>
                    <a:pt x="4591278" y="6505580"/>
                  </a:lnTo>
                  <a:lnTo>
                    <a:pt x="1686583" y="6505580"/>
                  </a:lnTo>
                  <a:lnTo>
                    <a:pt x="1684267" y="6503505"/>
                  </a:lnTo>
                  <a:cubicBezTo>
                    <a:pt x="1446349" y="6268710"/>
                    <a:pt x="1261980" y="5972907"/>
                    <a:pt x="1158280" y="5630621"/>
                  </a:cubicBezTo>
                  <a:cubicBezTo>
                    <a:pt x="932564" y="4887737"/>
                    <a:pt x="1147192" y="4114759"/>
                    <a:pt x="1650895" y="3591257"/>
                  </a:cubicBezTo>
                  <a:lnTo>
                    <a:pt x="984835" y="1394288"/>
                  </a:lnTo>
                  <a:cubicBezTo>
                    <a:pt x="968203" y="1338849"/>
                    <a:pt x="923851" y="1296081"/>
                    <a:pt x="867620" y="1281033"/>
                  </a:cubicBezTo>
                  <a:cubicBezTo>
                    <a:pt x="553004" y="1197182"/>
                    <a:pt x="261430" y="1040567"/>
                    <a:pt x="18364" y="823921"/>
                  </a:cubicBezTo>
                  <a:lnTo>
                    <a:pt x="0" y="806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DF4A843D-C5CD-4883-B866-4DCCAC5E4CE8}"/>
              </a:ext>
            </a:extLst>
          </p:cNvPr>
          <p:cNvSpPr/>
          <p:nvPr userDrawn="1"/>
        </p:nvSpPr>
        <p:spPr>
          <a:xfrm>
            <a:off x="3176" y="5036457"/>
            <a:ext cx="12188824" cy="182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5B2E4717-A806-48A3-B09E-C1437AC14F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09786" y="5530391"/>
            <a:ext cx="4372428" cy="491635"/>
          </a:xfrm>
          <a:prstGeom prst="rect">
            <a:avLst/>
          </a:prstGeom>
        </p:spPr>
      </p:pic>
      <p:pic>
        <p:nvPicPr>
          <p:cNvPr id="18447" name="Picture 15">
            <a:extLst>
              <a:ext uri="{FF2B5EF4-FFF2-40B4-BE49-F238E27FC236}">
                <a16:creationId xmlns:a16="http://schemas.microsoft.com/office/drawing/2014/main" id="{5379DC86-275C-420A-B037-237EAFA62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51668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pter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6" r="196"/>
          <a:stretch/>
        </p:blipFill>
        <p:spPr>
          <a:xfrm>
            <a:off x="0" y="-15306"/>
            <a:ext cx="12192000" cy="6888613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A24CA8DA-CE54-AC4B-A2CC-262161C2E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31" y="4186953"/>
            <a:ext cx="5480653" cy="1756647"/>
          </a:xfrm>
          <a:prstGeom prst="rect">
            <a:avLst/>
          </a:prstGeom>
        </p:spPr>
        <p:txBody>
          <a:bodyPr vert="horz" anchor="ctr"/>
          <a:lstStyle>
            <a:lvl1pPr>
              <a:defRPr sz="4400" cap="all" baseline="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ro-RO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ECECC2-8BB3-4DDD-949B-C2970CBC3A2F}"/>
              </a:ext>
            </a:extLst>
          </p:cNvPr>
          <p:cNvSpPr/>
          <p:nvPr userDrawn="1"/>
        </p:nvSpPr>
        <p:spPr>
          <a:xfrm>
            <a:off x="431800" y="6121400"/>
            <a:ext cx="2324100" cy="73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D981BA6-1B04-47E5-A58C-F843853451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7266" y="6362700"/>
            <a:ext cx="1342590" cy="150961"/>
          </a:xfrm>
          <a:prstGeom prst="rect">
            <a:avLst/>
          </a:prstGeom>
        </p:spPr>
      </p:pic>
      <p:pic>
        <p:nvPicPr>
          <p:cNvPr id="20495" name="Picture 15">
            <a:extLst>
              <a:ext uri="{FF2B5EF4-FFF2-40B4-BE49-F238E27FC236}">
                <a16:creationId xmlns:a16="http://schemas.microsoft.com/office/drawing/2014/main" id="{B462E0C0-64DB-4678-B1A7-1D419097E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84881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E76379EA-8B16-3D44-B4FB-3D5A820D6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793" y="804651"/>
            <a:ext cx="7107158" cy="711312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5943A7E-EDB9-A84A-88CF-E1BF466B2D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794" y="2561968"/>
            <a:ext cx="5070618" cy="2955085"/>
          </a:xfrm>
          <a:prstGeom prst="rect">
            <a:avLst/>
          </a:prstGeom>
        </p:spPr>
        <p:txBody>
          <a:bodyPr/>
          <a:lstStyle>
            <a:lvl1pPr marL="457200" indent="-457200" algn="l">
              <a:buFont typeface="Arial" panose="020B0604020202020204" pitchFamily="34" charset="0"/>
              <a:buChar char="•"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tex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C867793-1601-DF44-8660-DF417B481E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D2C74-363A-DC42-AF2E-8E8249979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4C0B19E-869F-B141-9FC0-F101F278B268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545793" y="1538006"/>
            <a:ext cx="3937000" cy="56737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pic>
        <p:nvPicPr>
          <p:cNvPr id="21519" name="Picture 15">
            <a:extLst>
              <a:ext uri="{FF2B5EF4-FFF2-40B4-BE49-F238E27FC236}">
                <a16:creationId xmlns:a16="http://schemas.microsoft.com/office/drawing/2014/main" id="{13AC7C64-AE07-4429-A626-932038D41E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72117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pter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6" r="196"/>
          <a:stretch/>
        </p:blipFill>
        <p:spPr>
          <a:xfrm>
            <a:off x="0" y="-15306"/>
            <a:ext cx="12192000" cy="6888612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A24CA8DA-CE54-AC4B-A2CC-262161C2E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6731" y="1291351"/>
            <a:ext cx="3757572" cy="1756647"/>
          </a:xfrm>
          <a:prstGeom prst="rect">
            <a:avLst/>
          </a:prstGeom>
        </p:spPr>
        <p:txBody>
          <a:bodyPr vert="horz" anchor="ctr"/>
          <a:lstStyle>
            <a:lvl1pPr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ro-RO"/>
          </a:p>
        </p:txBody>
      </p:sp>
      <p:pic>
        <p:nvPicPr>
          <p:cNvPr id="19471" name="Picture 15">
            <a:extLst>
              <a:ext uri="{FF2B5EF4-FFF2-40B4-BE49-F238E27FC236}">
                <a16:creationId xmlns:a16="http://schemas.microsoft.com/office/drawing/2014/main" id="{0137F1C4-CE84-40B3-ABA3-9BFAD1DA4A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18084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742113-BEAC-BA46-A20D-83BEC0AD88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D17D6C-5FC4-F944-869D-683CA7F74AD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735" y="4521188"/>
            <a:ext cx="3970758" cy="63860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A27CBD6-7464-5C40-8E9F-76E8ED4D9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028" y="3450592"/>
            <a:ext cx="3974172" cy="751294"/>
          </a:xfrm>
          <a:prstGeom prst="rect">
            <a:avLst/>
          </a:prstGeom>
        </p:spPr>
        <p:txBody>
          <a:bodyPr vert="horz" anchor="t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445B3CA-A996-411A-AF0F-5006DF8390FD}"/>
              </a:ext>
            </a:extLst>
          </p:cNvPr>
          <p:cNvGrpSpPr/>
          <p:nvPr userDrawn="1"/>
        </p:nvGrpSpPr>
        <p:grpSpPr>
          <a:xfrm flipH="1">
            <a:off x="-61550" y="0"/>
            <a:ext cx="12471590" cy="7684497"/>
            <a:chOff x="-15511" y="0"/>
            <a:chExt cx="12471590" cy="7684497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B7208AE-8307-4C71-BB19-2E0C934428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62189" b="16724"/>
            <a:stretch/>
          </p:blipFill>
          <p:spPr>
            <a:xfrm>
              <a:off x="-15511" y="0"/>
              <a:ext cx="5557431" cy="6888613"/>
            </a:xfrm>
            <a:prstGeom prst="rect">
              <a:avLst/>
            </a:prstGeom>
          </p:spPr>
        </p:pic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7E6A10E-E20B-4107-BAD1-F1BFAE90682F}"/>
                </a:ext>
              </a:extLst>
            </p:cNvPr>
            <p:cNvSpPr/>
            <p:nvPr userDrawn="1"/>
          </p:nvSpPr>
          <p:spPr>
            <a:xfrm>
              <a:off x="4615689" y="0"/>
              <a:ext cx="7840390" cy="7684497"/>
            </a:xfrm>
            <a:custGeom>
              <a:avLst/>
              <a:gdLst>
                <a:gd name="connsiteX0" fmla="*/ 828396 w 7727410"/>
                <a:gd name="connsiteY0" fmla="*/ 0 h 7551954"/>
                <a:gd name="connsiteX1" fmla="*/ 1917673 w 7727410"/>
                <a:gd name="connsiteY1" fmla="*/ 0 h 7551954"/>
                <a:gd name="connsiteX2" fmla="*/ 1896603 w 7727410"/>
                <a:gd name="connsiteY2" fmla="*/ 109983 h 7551954"/>
                <a:gd name="connsiteX3" fmla="*/ 1161955 w 7727410"/>
                <a:gd name="connsiteY3" fmla="*/ 1556854 h 7551954"/>
                <a:gd name="connsiteX4" fmla="*/ 1107587 w 7727410"/>
                <a:gd name="connsiteY4" fmla="*/ 1809666 h 7551954"/>
                <a:gd name="connsiteX5" fmla="*/ 1736897 w 7727410"/>
                <a:gd name="connsiteY5" fmla="*/ 3863420 h 7551954"/>
                <a:gd name="connsiteX6" fmla="*/ 1923108 w 7727410"/>
                <a:gd name="connsiteY6" fmla="*/ 4042834 h 7551954"/>
                <a:gd name="connsiteX7" fmla="*/ 3932008 w 7727410"/>
                <a:gd name="connsiteY7" fmla="*/ 5573296 h 7551954"/>
                <a:gd name="connsiteX8" fmla="*/ 4222878 w 7727410"/>
                <a:gd name="connsiteY8" fmla="*/ 6242022 h 7551954"/>
                <a:gd name="connsiteX9" fmla="*/ 4551804 w 7727410"/>
                <a:gd name="connsiteY9" fmla="*/ 6410564 h 7551954"/>
                <a:gd name="connsiteX10" fmla="*/ 7727410 w 7727410"/>
                <a:gd name="connsiteY10" fmla="*/ 5436795 h 7551954"/>
                <a:gd name="connsiteX11" fmla="*/ 7727410 w 7727410"/>
                <a:gd name="connsiteY11" fmla="*/ 6548877 h 7551954"/>
                <a:gd name="connsiteX12" fmla="*/ 4610250 w 7727410"/>
                <a:gd name="connsiteY12" fmla="*/ 7504720 h 7551954"/>
                <a:gd name="connsiteX13" fmla="*/ 3282310 w 7727410"/>
                <a:gd name="connsiteY13" fmla="*/ 6800654 h 7551954"/>
                <a:gd name="connsiteX14" fmla="*/ 3025420 w 7727410"/>
                <a:gd name="connsiteY14" fmla="*/ 6130568 h 7551954"/>
                <a:gd name="connsiteX15" fmla="*/ 1561560 w 7727410"/>
                <a:gd name="connsiteY15" fmla="*/ 5048644 h 7551954"/>
                <a:gd name="connsiteX16" fmla="*/ 765068 w 7727410"/>
                <a:gd name="connsiteY16" fmla="*/ 4320110 h 7551954"/>
                <a:gd name="connsiteX17" fmla="*/ 47410 w 7727410"/>
                <a:gd name="connsiteY17" fmla="*/ 1979566 h 7551954"/>
                <a:gd name="connsiteX18" fmla="*/ 287989 w 7727410"/>
                <a:gd name="connsiteY18" fmla="*/ 941136 h 7551954"/>
                <a:gd name="connsiteX19" fmla="*/ 806731 w 7727410"/>
                <a:gd name="connsiteY19" fmla="*/ 75774 h 7551954"/>
                <a:gd name="connsiteX20" fmla="*/ 828396 w 7727410"/>
                <a:gd name="connsiteY20" fmla="*/ 0 h 755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27410" h="7551954">
                  <a:moveTo>
                    <a:pt x="828396" y="0"/>
                  </a:moveTo>
                  <a:lnTo>
                    <a:pt x="1917673" y="0"/>
                  </a:lnTo>
                  <a:lnTo>
                    <a:pt x="1896603" y="109983"/>
                  </a:lnTo>
                  <a:cubicBezTo>
                    <a:pt x="1776314" y="645849"/>
                    <a:pt x="1522823" y="1144336"/>
                    <a:pt x="1161955" y="1556854"/>
                  </a:cubicBezTo>
                  <a:cubicBezTo>
                    <a:pt x="1100791" y="1626174"/>
                    <a:pt x="1080403" y="1721318"/>
                    <a:pt x="1107587" y="1809666"/>
                  </a:cubicBezTo>
                  <a:lnTo>
                    <a:pt x="1736897" y="3863420"/>
                  </a:lnTo>
                  <a:cubicBezTo>
                    <a:pt x="1762722" y="3951768"/>
                    <a:pt x="1834760" y="4019728"/>
                    <a:pt x="1923108" y="4042834"/>
                  </a:cubicBezTo>
                  <a:cubicBezTo>
                    <a:pt x="2757657" y="4261666"/>
                    <a:pt x="3497064" y="4801268"/>
                    <a:pt x="3932008" y="5573296"/>
                  </a:cubicBezTo>
                  <a:cubicBezTo>
                    <a:pt x="4062491" y="5805718"/>
                    <a:pt x="4161714" y="6059888"/>
                    <a:pt x="4222878" y="6242022"/>
                  </a:cubicBezTo>
                  <a:cubicBezTo>
                    <a:pt x="4269091" y="6377942"/>
                    <a:pt x="4414525" y="6452698"/>
                    <a:pt x="4551804" y="6410564"/>
                  </a:cubicBezTo>
                  <a:lnTo>
                    <a:pt x="7727410" y="5436795"/>
                  </a:lnTo>
                  <a:lnTo>
                    <a:pt x="7727410" y="6548877"/>
                  </a:lnTo>
                  <a:lnTo>
                    <a:pt x="4610250" y="7504720"/>
                  </a:lnTo>
                  <a:cubicBezTo>
                    <a:pt x="4048899" y="7677338"/>
                    <a:pt x="3454929" y="7362004"/>
                    <a:pt x="3282310" y="6800654"/>
                  </a:cubicBezTo>
                  <a:cubicBezTo>
                    <a:pt x="3282310" y="6800654"/>
                    <a:pt x="3196680" y="6441826"/>
                    <a:pt x="3025420" y="6130568"/>
                  </a:cubicBezTo>
                  <a:cubicBezTo>
                    <a:pt x="2715523" y="5567858"/>
                    <a:pt x="2173201" y="5180486"/>
                    <a:pt x="1561560" y="5048644"/>
                  </a:cubicBezTo>
                  <a:cubicBezTo>
                    <a:pt x="1183702" y="4967092"/>
                    <a:pt x="877882" y="4689814"/>
                    <a:pt x="765068" y="4320110"/>
                  </a:cubicBezTo>
                  <a:lnTo>
                    <a:pt x="47410" y="1979566"/>
                  </a:lnTo>
                  <a:cubicBezTo>
                    <a:pt x="-64045" y="1615300"/>
                    <a:pt x="22944" y="1214334"/>
                    <a:pt x="287989" y="941136"/>
                  </a:cubicBezTo>
                  <a:cubicBezTo>
                    <a:pt x="525255" y="696140"/>
                    <a:pt x="702683" y="399111"/>
                    <a:pt x="806731" y="75774"/>
                  </a:cubicBezTo>
                  <a:lnTo>
                    <a:pt x="828396" y="0"/>
                  </a:lnTo>
                  <a:close/>
                </a:path>
              </a:pathLst>
            </a:custGeom>
            <a:gradFill>
              <a:gsLst>
                <a:gs pos="22095">
                  <a:schemeClr val="accent2">
                    <a:alpha val="48000"/>
                  </a:schemeClr>
                </a:gs>
                <a:gs pos="1000">
                  <a:schemeClr val="accent1">
                    <a:alpha val="45000"/>
                  </a:schemeClr>
                </a:gs>
                <a:gs pos="99115">
                  <a:schemeClr val="bg1">
                    <a:alpha val="0"/>
                  </a:schemeClr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26620C-653C-2847-A222-1FCAC6DEBB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524523F1-D220-46A3-8067-EC4DF9F425A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7266" y="6362700"/>
            <a:ext cx="1342590" cy="150961"/>
          </a:xfrm>
          <a:prstGeom prst="rect">
            <a:avLst/>
          </a:prstGeom>
        </p:spPr>
      </p:pic>
      <p:pic>
        <p:nvPicPr>
          <p:cNvPr id="9230" name="Picture 14">
            <a:extLst>
              <a:ext uri="{FF2B5EF4-FFF2-40B4-BE49-F238E27FC236}">
                <a16:creationId xmlns:a16="http://schemas.microsoft.com/office/drawing/2014/main" id="{5563E8CA-D520-4F15-A7C2-FFC1BDB1D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18603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4236918-2A81-0748-B950-789BA0D88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9936448" cy="751294"/>
          </a:xfrm>
          <a:prstGeom prst="rect">
            <a:avLst/>
          </a:prstGeom>
        </p:spPr>
        <p:txBody>
          <a:bodyPr vert="horz"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C69B36-147E-A146-B44D-39F44768C1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545A2-C569-5C4D-8556-4771E90EDC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pic>
        <p:nvPicPr>
          <p:cNvPr id="13328" name="Picture 16">
            <a:extLst>
              <a:ext uri="{FF2B5EF4-FFF2-40B4-BE49-F238E27FC236}">
                <a16:creationId xmlns:a16="http://schemas.microsoft.com/office/drawing/2014/main" id="{0804A382-6DD9-4B4E-B0BC-42E31B1B55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2154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6" descr="FORTBRIDGE footer map">
            <a:extLst>
              <a:ext uri="{FF2B5EF4-FFF2-40B4-BE49-F238E27FC236}">
                <a16:creationId xmlns:a16="http://schemas.microsoft.com/office/drawing/2014/main" id="{67820950-5095-47AC-AA8C-FAD921E241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11" t="9161" r="57199" b="9161"/>
          <a:stretch/>
        </p:blipFill>
        <p:spPr bwMode="auto">
          <a:xfrm>
            <a:off x="6456345" y="762000"/>
            <a:ext cx="3838836" cy="383883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F359F62-B1A9-42B9-BA58-DCD4BA59AA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5096" t="74914" r="27034"/>
          <a:stretch/>
        </p:blipFill>
        <p:spPr>
          <a:xfrm>
            <a:off x="2514987" y="0"/>
            <a:ext cx="9677013" cy="54369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8827" t="79574" r="68810" b="14670"/>
          <a:stretch/>
        </p:blipFill>
        <p:spPr>
          <a:xfrm>
            <a:off x="985023" y="5737445"/>
            <a:ext cx="2717801" cy="393701"/>
          </a:xfrm>
          <a:prstGeom prst="rect">
            <a:avLst/>
          </a:prstGeom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574B526-2561-4C43-A545-A25A135C58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173" y="4135545"/>
            <a:ext cx="3175599" cy="290473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00000"/>
              </a:lnSpc>
              <a:buNone/>
              <a:defRPr sz="1200" b="1">
                <a:solidFill>
                  <a:srgbClr val="5F47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</a:t>
            </a:r>
            <a:r>
              <a:rPr lang="ro-RO" err="1"/>
              <a:t>name</a:t>
            </a:r>
            <a:endParaRPr lang="ro-RO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74F0D385-9660-8C46-A2F1-3593D6B81C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174" y="4934456"/>
            <a:ext cx="3175598" cy="439315"/>
          </a:xfrm>
          <a:prstGeom prst="rect">
            <a:avLst/>
          </a:prstGeom>
        </p:spPr>
        <p:txBody>
          <a:bodyPr lIns="0"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contact </a:t>
            </a:r>
            <a:r>
              <a:rPr lang="ro-RO" err="1"/>
              <a:t>information</a:t>
            </a:r>
            <a:endParaRPr lang="ro-RO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018BD13-834B-9F48-9169-ADD9F9E102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2174" y="4440556"/>
            <a:ext cx="3175598" cy="281852"/>
          </a:xfrm>
          <a:prstGeom prst="rect">
            <a:avLst/>
          </a:prstGeom>
        </p:spPr>
        <p:txBody>
          <a:bodyPr lIns="0" rIns="0" anchor="t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>
                <a:solidFill>
                  <a:srgbClr val="10CF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</a:t>
            </a:r>
            <a:r>
              <a:rPr lang="ro-RO" err="1"/>
              <a:t>position</a:t>
            </a:r>
            <a:r>
              <a:rPr lang="ro-RO"/>
              <a:t> </a:t>
            </a:r>
            <a:r>
              <a:rPr lang="ro-RO" err="1"/>
              <a:t>title</a:t>
            </a:r>
            <a:endParaRPr lang="ro-RO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14704A4-C0C9-4227-959B-46F97E0646B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2174" y="3619240"/>
            <a:ext cx="2945626" cy="331206"/>
          </a:xfrm>
          <a:prstGeom prst="rect">
            <a:avLst/>
          </a:prstGeom>
        </p:spPr>
      </p:pic>
      <p:pic>
        <p:nvPicPr>
          <p:cNvPr id="28685" name="Picture 13">
            <a:extLst>
              <a:ext uri="{FF2B5EF4-FFF2-40B4-BE49-F238E27FC236}">
                <a16:creationId xmlns:a16="http://schemas.microsoft.com/office/drawing/2014/main" id="{3B3BEC76-92DA-4078-B74A-9E4C96080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1457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6" r="196"/>
          <a:stretch/>
        </p:blipFill>
        <p:spPr>
          <a:xfrm>
            <a:off x="0" y="-15306"/>
            <a:ext cx="12192000" cy="6888612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A24CA8DA-CE54-AC4B-A2CC-262161C2E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6731" y="1291351"/>
            <a:ext cx="3757572" cy="1756647"/>
          </a:xfrm>
          <a:prstGeom prst="rect">
            <a:avLst/>
          </a:prstGeom>
        </p:spPr>
        <p:txBody>
          <a:bodyPr vert="horz" anchor="ctr"/>
          <a:lstStyle>
            <a:lvl1pPr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ro-RO"/>
          </a:p>
        </p:txBody>
      </p:sp>
      <p:pic>
        <p:nvPicPr>
          <p:cNvPr id="19471" name="Picture 15">
            <a:extLst>
              <a:ext uri="{FF2B5EF4-FFF2-40B4-BE49-F238E27FC236}">
                <a16:creationId xmlns:a16="http://schemas.microsoft.com/office/drawing/2014/main" id="{0137F1C4-CE84-40B3-ABA3-9BFAD1DA4A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67475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000" y="-15306"/>
            <a:ext cx="12240000" cy="688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4843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 descr="A picture containing rainbow, nature&#10;&#10;Description automatically generated">
            <a:extLst>
              <a:ext uri="{FF2B5EF4-FFF2-40B4-BE49-F238E27FC236}">
                <a16:creationId xmlns:a16="http://schemas.microsoft.com/office/drawing/2014/main" id="{A7AEAD64-2264-41AA-B141-87877236F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9947"/>
          <a:stretch/>
        </p:blipFill>
        <p:spPr>
          <a:xfrm>
            <a:off x="0" y="0"/>
            <a:ext cx="12192000" cy="59073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A7DA5D6-C88F-DD49-A801-454F40CDF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4114" y="1701641"/>
            <a:ext cx="5863772" cy="1240336"/>
          </a:xfrm>
          <a:prstGeom prst="rect">
            <a:avLst/>
          </a:prstGeom>
        </p:spPr>
        <p:txBody>
          <a:bodyPr vert="horz" anchor="t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  <a:endParaRPr lang="ro-RO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A0AF4DA-04EA-8E43-B1EC-D611A4C7A60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64114" y="3090259"/>
            <a:ext cx="5863772" cy="56737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29502D4-9EDF-4F80-9F10-92511534A1C8}"/>
              </a:ext>
            </a:extLst>
          </p:cNvPr>
          <p:cNvGrpSpPr/>
          <p:nvPr userDrawn="1"/>
        </p:nvGrpSpPr>
        <p:grpSpPr>
          <a:xfrm>
            <a:off x="0" y="-1"/>
            <a:ext cx="12192001" cy="6858000"/>
            <a:chOff x="0" y="-1"/>
            <a:chExt cx="12192001" cy="6858000"/>
          </a:xfrm>
          <a:gradFill>
            <a:gsLst>
              <a:gs pos="100000">
                <a:srgbClr val="FFFFFF">
                  <a:alpha val="0"/>
                </a:srgbClr>
              </a:gs>
              <a:gs pos="0">
                <a:schemeClr val="bg1">
                  <a:alpha val="9000"/>
                </a:schemeClr>
              </a:gs>
            </a:gsLst>
            <a:lin ang="1800000" scaled="0"/>
          </a:gradFill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9405C1B-700B-4AA3-B23F-9216D438A439}"/>
                </a:ext>
              </a:extLst>
            </p:cNvPr>
            <p:cNvSpPr/>
            <p:nvPr userDrawn="1"/>
          </p:nvSpPr>
          <p:spPr>
            <a:xfrm>
              <a:off x="2215510" y="-1"/>
              <a:ext cx="9976491" cy="4563700"/>
            </a:xfrm>
            <a:custGeom>
              <a:avLst/>
              <a:gdLst>
                <a:gd name="connsiteX0" fmla="*/ 531360 w 9976491"/>
                <a:gd name="connsiteY0" fmla="*/ 0 h 4563700"/>
                <a:gd name="connsiteX1" fmla="*/ 1221397 w 9976491"/>
                <a:gd name="connsiteY1" fmla="*/ 0 h 4563700"/>
                <a:gd name="connsiteX2" fmla="*/ 1204386 w 9976491"/>
                <a:gd name="connsiteY2" fmla="*/ 87398 h 4563700"/>
                <a:gd name="connsiteX3" fmla="*/ 736619 w 9976491"/>
                <a:gd name="connsiteY3" fmla="*/ 1001449 h 4563700"/>
                <a:gd name="connsiteX4" fmla="*/ 701771 w 9976491"/>
                <a:gd name="connsiteY4" fmla="*/ 1161430 h 4563700"/>
                <a:gd name="connsiteX5" fmla="*/ 1340112 w 9976491"/>
                <a:gd name="connsiteY5" fmla="*/ 3266529 h 4563700"/>
                <a:gd name="connsiteX6" fmla="*/ 1457326 w 9976491"/>
                <a:gd name="connsiteY6" fmla="*/ 3379782 h 4563700"/>
                <a:gd name="connsiteX7" fmla="*/ 2297622 w 9976491"/>
                <a:gd name="connsiteY7" fmla="*/ 3828839 h 4563700"/>
                <a:gd name="connsiteX8" fmla="*/ 2456020 w 9976491"/>
                <a:gd name="connsiteY8" fmla="*/ 3863685 h 4563700"/>
                <a:gd name="connsiteX9" fmla="*/ 9976491 w 9976491"/>
                <a:gd name="connsiteY9" fmla="*/ 1584011 h 4563700"/>
                <a:gd name="connsiteX10" fmla="*/ 9976491 w 9976491"/>
                <a:gd name="connsiteY10" fmla="*/ 2286964 h 4563700"/>
                <a:gd name="connsiteX11" fmla="*/ 2559770 w 9976491"/>
                <a:gd name="connsiteY11" fmla="*/ 4535290 h 4563700"/>
                <a:gd name="connsiteX12" fmla="*/ 1892126 w 9976491"/>
                <a:gd name="connsiteY12" fmla="*/ 4370556 h 4563700"/>
                <a:gd name="connsiteX13" fmla="*/ 1230027 w 9976491"/>
                <a:gd name="connsiteY13" fmla="*/ 4016539 h 4563700"/>
                <a:gd name="connsiteX14" fmla="*/ 722363 w 9976491"/>
                <a:gd name="connsiteY14" fmla="*/ 3553227 h 4563700"/>
                <a:gd name="connsiteX15" fmla="*/ 29375 w 9976491"/>
                <a:gd name="connsiteY15" fmla="*/ 1265972 h 4563700"/>
                <a:gd name="connsiteX16" fmla="*/ 183812 w 9976491"/>
                <a:gd name="connsiteY16" fmla="*/ 609416 h 4563700"/>
                <a:gd name="connsiteX17" fmla="*/ 482724 w 9976491"/>
                <a:gd name="connsiteY17" fmla="*/ 149431 h 4563700"/>
                <a:gd name="connsiteX18" fmla="*/ 531360 w 9976491"/>
                <a:gd name="connsiteY18" fmla="*/ 0 h 456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976491" h="4563700">
                  <a:moveTo>
                    <a:pt x="531360" y="0"/>
                  </a:moveTo>
                  <a:lnTo>
                    <a:pt x="1221397" y="0"/>
                  </a:lnTo>
                  <a:lnTo>
                    <a:pt x="1204386" y="87398"/>
                  </a:lnTo>
                  <a:cubicBezTo>
                    <a:pt x="1127266" y="426269"/>
                    <a:pt x="965899" y="741282"/>
                    <a:pt x="736619" y="1001449"/>
                  </a:cubicBezTo>
                  <a:cubicBezTo>
                    <a:pt x="697812" y="1045008"/>
                    <a:pt x="685140" y="1105199"/>
                    <a:pt x="701771" y="1161430"/>
                  </a:cubicBezTo>
                  <a:lnTo>
                    <a:pt x="1340112" y="3266529"/>
                  </a:lnTo>
                  <a:cubicBezTo>
                    <a:pt x="1356744" y="3321968"/>
                    <a:pt x="1401094" y="3364734"/>
                    <a:pt x="1457326" y="3379782"/>
                  </a:cubicBezTo>
                  <a:cubicBezTo>
                    <a:pt x="1767784" y="3462941"/>
                    <a:pt x="2056066" y="3616586"/>
                    <a:pt x="2297622" y="3828839"/>
                  </a:cubicBezTo>
                  <a:cubicBezTo>
                    <a:pt x="2340390" y="3867645"/>
                    <a:pt x="2400580" y="3880318"/>
                    <a:pt x="2456020" y="3863685"/>
                  </a:cubicBezTo>
                  <a:lnTo>
                    <a:pt x="9976491" y="1584011"/>
                  </a:lnTo>
                  <a:lnTo>
                    <a:pt x="9976491" y="2286964"/>
                  </a:lnTo>
                  <a:lnTo>
                    <a:pt x="2559770" y="4535290"/>
                  </a:lnTo>
                  <a:cubicBezTo>
                    <a:pt x="2323758" y="4606569"/>
                    <a:pt x="2071116" y="4540833"/>
                    <a:pt x="1892126" y="4370556"/>
                  </a:cubicBezTo>
                  <a:cubicBezTo>
                    <a:pt x="1707592" y="4194736"/>
                    <a:pt x="1477916" y="4071978"/>
                    <a:pt x="1230027" y="4016539"/>
                  </a:cubicBezTo>
                  <a:cubicBezTo>
                    <a:pt x="989262" y="3962684"/>
                    <a:pt x="793642" y="3788447"/>
                    <a:pt x="722363" y="3553227"/>
                  </a:cubicBezTo>
                  <a:lnTo>
                    <a:pt x="29375" y="1265972"/>
                  </a:lnTo>
                  <a:cubicBezTo>
                    <a:pt x="-40320" y="1035504"/>
                    <a:pt x="15119" y="782068"/>
                    <a:pt x="183812" y="609416"/>
                  </a:cubicBezTo>
                  <a:cubicBezTo>
                    <a:pt x="313005" y="476956"/>
                    <a:pt x="414466" y="320217"/>
                    <a:pt x="482724" y="149431"/>
                  </a:cubicBezTo>
                  <a:lnTo>
                    <a:pt x="53136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6FC93D3-01F5-449A-BFC4-FCEC6D96707C}"/>
                </a:ext>
              </a:extLst>
            </p:cNvPr>
            <p:cNvSpPr/>
            <p:nvPr userDrawn="1"/>
          </p:nvSpPr>
          <p:spPr>
            <a:xfrm>
              <a:off x="0" y="352419"/>
              <a:ext cx="12192000" cy="6505580"/>
            </a:xfrm>
            <a:custGeom>
              <a:avLst/>
              <a:gdLst>
                <a:gd name="connsiteX0" fmla="*/ 0 w 12192000"/>
                <a:gd name="connsiteY0" fmla="*/ 0 h 6505580"/>
                <a:gd name="connsiteX1" fmla="*/ 122186 w 12192000"/>
                <a:gd name="connsiteY1" fmla="*/ 40242 h 6505580"/>
                <a:gd name="connsiteX2" fmla="*/ 355206 w 12192000"/>
                <a:gd name="connsiteY2" fmla="*/ 211060 h 6505580"/>
                <a:gd name="connsiteX3" fmla="*/ 1106801 w 12192000"/>
                <a:gd name="connsiteY3" fmla="*/ 646653 h 6505580"/>
                <a:gd name="connsiteX4" fmla="*/ 1602584 w 12192000"/>
                <a:gd name="connsiteY4" fmla="*/ 1111548 h 6505580"/>
                <a:gd name="connsiteX5" fmla="*/ 2294780 w 12192000"/>
                <a:gd name="connsiteY5" fmla="*/ 3394844 h 6505580"/>
                <a:gd name="connsiteX6" fmla="*/ 2135590 w 12192000"/>
                <a:gd name="connsiteY6" fmla="*/ 4056152 h 6505580"/>
                <a:gd name="connsiteX7" fmla="*/ 1829883 w 12192000"/>
                <a:gd name="connsiteY7" fmla="*/ 5518158 h 6505580"/>
                <a:gd name="connsiteX8" fmla="*/ 3462959 w 12192000"/>
                <a:gd name="connsiteY8" fmla="*/ 6391719 h 6505580"/>
                <a:gd name="connsiteX9" fmla="*/ 4509170 w 12192000"/>
                <a:gd name="connsiteY9" fmla="*/ 5325706 h 6505580"/>
                <a:gd name="connsiteX10" fmla="*/ 4970898 w 12192000"/>
                <a:gd name="connsiteY10" fmla="*/ 4826755 h 6505580"/>
                <a:gd name="connsiteX11" fmla="*/ 12192000 w 12192000"/>
                <a:gd name="connsiteY11" fmla="*/ 2637729 h 6505580"/>
                <a:gd name="connsiteX12" fmla="*/ 12192000 w 12192000"/>
                <a:gd name="connsiteY12" fmla="*/ 3340660 h 6505580"/>
                <a:gd name="connsiteX13" fmla="*/ 5256806 w 12192000"/>
                <a:gd name="connsiteY13" fmla="*/ 5442919 h 6505580"/>
                <a:gd name="connsiteX14" fmla="*/ 5143554 w 12192000"/>
                <a:gd name="connsiteY14" fmla="*/ 5560134 h 6505580"/>
                <a:gd name="connsiteX15" fmla="*/ 4643314 w 12192000"/>
                <a:gd name="connsiteY15" fmla="*/ 6457157 h 6505580"/>
                <a:gd name="connsiteX16" fmla="*/ 4591278 w 12192000"/>
                <a:gd name="connsiteY16" fmla="*/ 6505580 h 6505580"/>
                <a:gd name="connsiteX17" fmla="*/ 1686583 w 12192000"/>
                <a:gd name="connsiteY17" fmla="*/ 6505580 h 6505580"/>
                <a:gd name="connsiteX18" fmla="*/ 1684267 w 12192000"/>
                <a:gd name="connsiteY18" fmla="*/ 6503505 h 6505580"/>
                <a:gd name="connsiteX19" fmla="*/ 1158280 w 12192000"/>
                <a:gd name="connsiteY19" fmla="*/ 5630621 h 6505580"/>
                <a:gd name="connsiteX20" fmla="*/ 1650895 w 12192000"/>
                <a:gd name="connsiteY20" fmla="*/ 3591257 h 6505580"/>
                <a:gd name="connsiteX21" fmla="*/ 984835 w 12192000"/>
                <a:gd name="connsiteY21" fmla="*/ 1394288 h 6505580"/>
                <a:gd name="connsiteX22" fmla="*/ 867620 w 12192000"/>
                <a:gd name="connsiteY22" fmla="*/ 1281033 h 6505580"/>
                <a:gd name="connsiteX23" fmla="*/ 18364 w 12192000"/>
                <a:gd name="connsiteY23" fmla="*/ 823921 h 6505580"/>
                <a:gd name="connsiteX24" fmla="*/ 0 w 12192000"/>
                <a:gd name="connsiteY24" fmla="*/ 806400 h 6505580"/>
                <a:gd name="connsiteX25" fmla="*/ 0 w 12192000"/>
                <a:gd name="connsiteY25" fmla="*/ 0 h 6505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192000" h="6505580">
                  <a:moveTo>
                    <a:pt x="0" y="0"/>
                  </a:moveTo>
                  <a:lnTo>
                    <a:pt x="122186" y="40242"/>
                  </a:lnTo>
                  <a:cubicBezTo>
                    <a:pt x="209270" y="79418"/>
                    <a:pt x="288976" y="137109"/>
                    <a:pt x="355206" y="211060"/>
                  </a:cubicBezTo>
                  <a:cubicBezTo>
                    <a:pt x="553202" y="432025"/>
                    <a:pt x="817726" y="584877"/>
                    <a:pt x="1106801" y="646653"/>
                  </a:cubicBezTo>
                  <a:cubicBezTo>
                    <a:pt x="1344397" y="697340"/>
                    <a:pt x="1532097" y="878705"/>
                    <a:pt x="1602584" y="1111548"/>
                  </a:cubicBezTo>
                  <a:lnTo>
                    <a:pt x="2294780" y="3394844"/>
                  </a:lnTo>
                  <a:cubicBezTo>
                    <a:pt x="2365266" y="3627688"/>
                    <a:pt x="2304283" y="3881123"/>
                    <a:pt x="2135590" y="4056152"/>
                  </a:cubicBezTo>
                  <a:cubicBezTo>
                    <a:pt x="1776029" y="4429177"/>
                    <a:pt x="1634263" y="4990696"/>
                    <a:pt x="1829883" y="5518158"/>
                  </a:cubicBezTo>
                  <a:cubicBezTo>
                    <a:pt x="2073815" y="6175506"/>
                    <a:pt x="2781058" y="6554076"/>
                    <a:pt x="3462959" y="6391719"/>
                  </a:cubicBezTo>
                  <a:cubicBezTo>
                    <a:pt x="4010221" y="6261833"/>
                    <a:pt x="4398294" y="5831784"/>
                    <a:pt x="4509170" y="5325706"/>
                  </a:cubicBezTo>
                  <a:cubicBezTo>
                    <a:pt x="4561442" y="5088110"/>
                    <a:pt x="4738058" y="4897241"/>
                    <a:pt x="4970898" y="4826755"/>
                  </a:cubicBezTo>
                  <a:lnTo>
                    <a:pt x="12192000" y="2637729"/>
                  </a:lnTo>
                  <a:lnTo>
                    <a:pt x="12192000" y="3340660"/>
                  </a:lnTo>
                  <a:lnTo>
                    <a:pt x="5256806" y="5442919"/>
                  </a:lnTo>
                  <a:cubicBezTo>
                    <a:pt x="5201370" y="5459551"/>
                    <a:pt x="5158598" y="5503903"/>
                    <a:pt x="5143554" y="5560134"/>
                  </a:cubicBezTo>
                  <a:cubicBezTo>
                    <a:pt x="5054454" y="5895539"/>
                    <a:pt x="4882197" y="6204810"/>
                    <a:pt x="4643314" y="6457157"/>
                  </a:cubicBezTo>
                  <a:lnTo>
                    <a:pt x="4591278" y="6505580"/>
                  </a:lnTo>
                  <a:lnTo>
                    <a:pt x="1686583" y="6505580"/>
                  </a:lnTo>
                  <a:lnTo>
                    <a:pt x="1684267" y="6503505"/>
                  </a:lnTo>
                  <a:cubicBezTo>
                    <a:pt x="1446349" y="6268710"/>
                    <a:pt x="1261980" y="5972907"/>
                    <a:pt x="1158280" y="5630621"/>
                  </a:cubicBezTo>
                  <a:cubicBezTo>
                    <a:pt x="932564" y="4887737"/>
                    <a:pt x="1147192" y="4114759"/>
                    <a:pt x="1650895" y="3591257"/>
                  </a:cubicBezTo>
                  <a:lnTo>
                    <a:pt x="984835" y="1394288"/>
                  </a:lnTo>
                  <a:cubicBezTo>
                    <a:pt x="968203" y="1338849"/>
                    <a:pt x="923851" y="1296081"/>
                    <a:pt x="867620" y="1281033"/>
                  </a:cubicBezTo>
                  <a:cubicBezTo>
                    <a:pt x="553004" y="1197182"/>
                    <a:pt x="261430" y="1040567"/>
                    <a:pt x="18364" y="823921"/>
                  </a:cubicBezTo>
                  <a:lnTo>
                    <a:pt x="0" y="806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DF4A843D-C5CD-4883-B866-4DCCAC5E4CE8}"/>
              </a:ext>
            </a:extLst>
          </p:cNvPr>
          <p:cNvSpPr/>
          <p:nvPr userDrawn="1"/>
        </p:nvSpPr>
        <p:spPr>
          <a:xfrm>
            <a:off x="3176" y="5036457"/>
            <a:ext cx="12188824" cy="182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5B2E4717-A806-48A3-B09E-C1437AC14F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09786" y="5530391"/>
            <a:ext cx="4372428" cy="491635"/>
          </a:xfrm>
          <a:prstGeom prst="rect">
            <a:avLst/>
          </a:prstGeom>
        </p:spPr>
      </p:pic>
      <p:pic>
        <p:nvPicPr>
          <p:cNvPr id="18447" name="Picture 15">
            <a:extLst>
              <a:ext uri="{FF2B5EF4-FFF2-40B4-BE49-F238E27FC236}">
                <a16:creationId xmlns:a16="http://schemas.microsoft.com/office/drawing/2014/main" id="{5379DC86-275C-420A-B037-237EAFA62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46128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apter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6" r="196"/>
          <a:stretch/>
        </p:blipFill>
        <p:spPr>
          <a:xfrm>
            <a:off x="0" y="-15306"/>
            <a:ext cx="12192000" cy="6888613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A24CA8DA-CE54-AC4B-A2CC-262161C2E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31" y="4186953"/>
            <a:ext cx="5480653" cy="1756647"/>
          </a:xfrm>
          <a:prstGeom prst="rect">
            <a:avLst/>
          </a:prstGeom>
        </p:spPr>
        <p:txBody>
          <a:bodyPr vert="horz" anchor="ctr"/>
          <a:lstStyle>
            <a:lvl1pPr>
              <a:defRPr sz="4400" cap="all" baseline="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ro-RO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ECECC2-8BB3-4DDD-949B-C2970CBC3A2F}"/>
              </a:ext>
            </a:extLst>
          </p:cNvPr>
          <p:cNvSpPr/>
          <p:nvPr userDrawn="1"/>
        </p:nvSpPr>
        <p:spPr>
          <a:xfrm>
            <a:off x="431800" y="6121400"/>
            <a:ext cx="2324100" cy="73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D981BA6-1B04-47E5-A58C-F843853451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7266" y="6362700"/>
            <a:ext cx="1342590" cy="150961"/>
          </a:xfrm>
          <a:prstGeom prst="rect">
            <a:avLst/>
          </a:prstGeom>
        </p:spPr>
      </p:pic>
      <p:pic>
        <p:nvPicPr>
          <p:cNvPr id="20495" name="Picture 15">
            <a:extLst>
              <a:ext uri="{FF2B5EF4-FFF2-40B4-BE49-F238E27FC236}">
                <a16:creationId xmlns:a16="http://schemas.microsoft.com/office/drawing/2014/main" id="{B462E0C0-64DB-4678-B1A7-1D419097E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88721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E76379EA-8B16-3D44-B4FB-3D5A820D6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793" y="804651"/>
            <a:ext cx="7107158" cy="711312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5943A7E-EDB9-A84A-88CF-E1BF466B2D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794" y="2561968"/>
            <a:ext cx="5070618" cy="2955085"/>
          </a:xfrm>
          <a:prstGeom prst="rect">
            <a:avLst/>
          </a:prstGeom>
        </p:spPr>
        <p:txBody>
          <a:bodyPr/>
          <a:lstStyle>
            <a:lvl1pPr marL="457200" indent="-457200" algn="l">
              <a:buFont typeface="Arial" panose="020B0604020202020204" pitchFamily="34" charset="0"/>
              <a:buChar char="•"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tex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C867793-1601-DF44-8660-DF417B481E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D2C74-363A-DC42-AF2E-8E8249979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4C0B19E-869F-B141-9FC0-F101F278B268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545793" y="1538006"/>
            <a:ext cx="3937000" cy="56737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pic>
        <p:nvPicPr>
          <p:cNvPr id="21519" name="Picture 15">
            <a:extLst>
              <a:ext uri="{FF2B5EF4-FFF2-40B4-BE49-F238E27FC236}">
                <a16:creationId xmlns:a16="http://schemas.microsoft.com/office/drawing/2014/main" id="{13AC7C64-AE07-4429-A626-932038D41E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25440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apter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6" r="196"/>
          <a:stretch/>
        </p:blipFill>
        <p:spPr>
          <a:xfrm>
            <a:off x="0" y="-15306"/>
            <a:ext cx="12192000" cy="6888612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A24CA8DA-CE54-AC4B-A2CC-262161C2E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6731" y="1291351"/>
            <a:ext cx="3757572" cy="1756647"/>
          </a:xfrm>
          <a:prstGeom prst="rect">
            <a:avLst/>
          </a:prstGeom>
        </p:spPr>
        <p:txBody>
          <a:bodyPr vert="horz" anchor="ctr"/>
          <a:lstStyle>
            <a:lvl1pPr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ro-RO"/>
          </a:p>
        </p:txBody>
      </p:sp>
      <p:pic>
        <p:nvPicPr>
          <p:cNvPr id="19471" name="Picture 15">
            <a:extLst>
              <a:ext uri="{FF2B5EF4-FFF2-40B4-BE49-F238E27FC236}">
                <a16:creationId xmlns:a16="http://schemas.microsoft.com/office/drawing/2014/main" id="{0137F1C4-CE84-40B3-ABA3-9BFAD1DA4A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12618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742113-BEAC-BA46-A20D-83BEC0AD88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D17D6C-5FC4-F944-869D-683CA7F74AD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735" y="4521188"/>
            <a:ext cx="3970758" cy="63860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A27CBD6-7464-5C40-8E9F-76E8ED4D9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028" y="3450592"/>
            <a:ext cx="3974172" cy="751294"/>
          </a:xfrm>
          <a:prstGeom prst="rect">
            <a:avLst/>
          </a:prstGeom>
        </p:spPr>
        <p:txBody>
          <a:bodyPr vert="horz" anchor="t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445B3CA-A996-411A-AF0F-5006DF8390FD}"/>
              </a:ext>
            </a:extLst>
          </p:cNvPr>
          <p:cNvGrpSpPr/>
          <p:nvPr userDrawn="1"/>
        </p:nvGrpSpPr>
        <p:grpSpPr>
          <a:xfrm flipH="1">
            <a:off x="-61550" y="0"/>
            <a:ext cx="12471590" cy="7684497"/>
            <a:chOff x="-15511" y="0"/>
            <a:chExt cx="12471590" cy="7684497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B7208AE-8307-4C71-BB19-2E0C934428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62189" b="16724"/>
            <a:stretch/>
          </p:blipFill>
          <p:spPr>
            <a:xfrm>
              <a:off x="-15511" y="0"/>
              <a:ext cx="5557431" cy="6888613"/>
            </a:xfrm>
            <a:prstGeom prst="rect">
              <a:avLst/>
            </a:prstGeom>
          </p:spPr>
        </p:pic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7E6A10E-E20B-4107-BAD1-F1BFAE90682F}"/>
                </a:ext>
              </a:extLst>
            </p:cNvPr>
            <p:cNvSpPr/>
            <p:nvPr userDrawn="1"/>
          </p:nvSpPr>
          <p:spPr>
            <a:xfrm>
              <a:off x="4615689" y="0"/>
              <a:ext cx="7840390" cy="7684497"/>
            </a:xfrm>
            <a:custGeom>
              <a:avLst/>
              <a:gdLst>
                <a:gd name="connsiteX0" fmla="*/ 828396 w 7727410"/>
                <a:gd name="connsiteY0" fmla="*/ 0 h 7551954"/>
                <a:gd name="connsiteX1" fmla="*/ 1917673 w 7727410"/>
                <a:gd name="connsiteY1" fmla="*/ 0 h 7551954"/>
                <a:gd name="connsiteX2" fmla="*/ 1896603 w 7727410"/>
                <a:gd name="connsiteY2" fmla="*/ 109983 h 7551954"/>
                <a:gd name="connsiteX3" fmla="*/ 1161955 w 7727410"/>
                <a:gd name="connsiteY3" fmla="*/ 1556854 h 7551954"/>
                <a:gd name="connsiteX4" fmla="*/ 1107587 w 7727410"/>
                <a:gd name="connsiteY4" fmla="*/ 1809666 h 7551954"/>
                <a:gd name="connsiteX5" fmla="*/ 1736897 w 7727410"/>
                <a:gd name="connsiteY5" fmla="*/ 3863420 h 7551954"/>
                <a:gd name="connsiteX6" fmla="*/ 1923108 w 7727410"/>
                <a:gd name="connsiteY6" fmla="*/ 4042834 h 7551954"/>
                <a:gd name="connsiteX7" fmla="*/ 3932008 w 7727410"/>
                <a:gd name="connsiteY7" fmla="*/ 5573296 h 7551954"/>
                <a:gd name="connsiteX8" fmla="*/ 4222878 w 7727410"/>
                <a:gd name="connsiteY8" fmla="*/ 6242022 h 7551954"/>
                <a:gd name="connsiteX9" fmla="*/ 4551804 w 7727410"/>
                <a:gd name="connsiteY9" fmla="*/ 6410564 h 7551954"/>
                <a:gd name="connsiteX10" fmla="*/ 7727410 w 7727410"/>
                <a:gd name="connsiteY10" fmla="*/ 5436795 h 7551954"/>
                <a:gd name="connsiteX11" fmla="*/ 7727410 w 7727410"/>
                <a:gd name="connsiteY11" fmla="*/ 6548877 h 7551954"/>
                <a:gd name="connsiteX12" fmla="*/ 4610250 w 7727410"/>
                <a:gd name="connsiteY12" fmla="*/ 7504720 h 7551954"/>
                <a:gd name="connsiteX13" fmla="*/ 3282310 w 7727410"/>
                <a:gd name="connsiteY13" fmla="*/ 6800654 h 7551954"/>
                <a:gd name="connsiteX14" fmla="*/ 3025420 w 7727410"/>
                <a:gd name="connsiteY14" fmla="*/ 6130568 h 7551954"/>
                <a:gd name="connsiteX15" fmla="*/ 1561560 w 7727410"/>
                <a:gd name="connsiteY15" fmla="*/ 5048644 h 7551954"/>
                <a:gd name="connsiteX16" fmla="*/ 765068 w 7727410"/>
                <a:gd name="connsiteY16" fmla="*/ 4320110 h 7551954"/>
                <a:gd name="connsiteX17" fmla="*/ 47410 w 7727410"/>
                <a:gd name="connsiteY17" fmla="*/ 1979566 h 7551954"/>
                <a:gd name="connsiteX18" fmla="*/ 287989 w 7727410"/>
                <a:gd name="connsiteY18" fmla="*/ 941136 h 7551954"/>
                <a:gd name="connsiteX19" fmla="*/ 806731 w 7727410"/>
                <a:gd name="connsiteY19" fmla="*/ 75774 h 7551954"/>
                <a:gd name="connsiteX20" fmla="*/ 828396 w 7727410"/>
                <a:gd name="connsiteY20" fmla="*/ 0 h 755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27410" h="7551954">
                  <a:moveTo>
                    <a:pt x="828396" y="0"/>
                  </a:moveTo>
                  <a:lnTo>
                    <a:pt x="1917673" y="0"/>
                  </a:lnTo>
                  <a:lnTo>
                    <a:pt x="1896603" y="109983"/>
                  </a:lnTo>
                  <a:cubicBezTo>
                    <a:pt x="1776314" y="645849"/>
                    <a:pt x="1522823" y="1144336"/>
                    <a:pt x="1161955" y="1556854"/>
                  </a:cubicBezTo>
                  <a:cubicBezTo>
                    <a:pt x="1100791" y="1626174"/>
                    <a:pt x="1080403" y="1721318"/>
                    <a:pt x="1107587" y="1809666"/>
                  </a:cubicBezTo>
                  <a:lnTo>
                    <a:pt x="1736897" y="3863420"/>
                  </a:lnTo>
                  <a:cubicBezTo>
                    <a:pt x="1762722" y="3951768"/>
                    <a:pt x="1834760" y="4019728"/>
                    <a:pt x="1923108" y="4042834"/>
                  </a:cubicBezTo>
                  <a:cubicBezTo>
                    <a:pt x="2757657" y="4261666"/>
                    <a:pt x="3497064" y="4801268"/>
                    <a:pt x="3932008" y="5573296"/>
                  </a:cubicBezTo>
                  <a:cubicBezTo>
                    <a:pt x="4062491" y="5805718"/>
                    <a:pt x="4161714" y="6059888"/>
                    <a:pt x="4222878" y="6242022"/>
                  </a:cubicBezTo>
                  <a:cubicBezTo>
                    <a:pt x="4269091" y="6377942"/>
                    <a:pt x="4414525" y="6452698"/>
                    <a:pt x="4551804" y="6410564"/>
                  </a:cubicBezTo>
                  <a:lnTo>
                    <a:pt x="7727410" y="5436795"/>
                  </a:lnTo>
                  <a:lnTo>
                    <a:pt x="7727410" y="6548877"/>
                  </a:lnTo>
                  <a:lnTo>
                    <a:pt x="4610250" y="7504720"/>
                  </a:lnTo>
                  <a:cubicBezTo>
                    <a:pt x="4048899" y="7677338"/>
                    <a:pt x="3454929" y="7362004"/>
                    <a:pt x="3282310" y="6800654"/>
                  </a:cubicBezTo>
                  <a:cubicBezTo>
                    <a:pt x="3282310" y="6800654"/>
                    <a:pt x="3196680" y="6441826"/>
                    <a:pt x="3025420" y="6130568"/>
                  </a:cubicBezTo>
                  <a:cubicBezTo>
                    <a:pt x="2715523" y="5567858"/>
                    <a:pt x="2173201" y="5180486"/>
                    <a:pt x="1561560" y="5048644"/>
                  </a:cubicBezTo>
                  <a:cubicBezTo>
                    <a:pt x="1183702" y="4967092"/>
                    <a:pt x="877882" y="4689814"/>
                    <a:pt x="765068" y="4320110"/>
                  </a:cubicBezTo>
                  <a:lnTo>
                    <a:pt x="47410" y="1979566"/>
                  </a:lnTo>
                  <a:cubicBezTo>
                    <a:pt x="-64045" y="1615300"/>
                    <a:pt x="22944" y="1214334"/>
                    <a:pt x="287989" y="941136"/>
                  </a:cubicBezTo>
                  <a:cubicBezTo>
                    <a:pt x="525255" y="696140"/>
                    <a:pt x="702683" y="399111"/>
                    <a:pt x="806731" y="75774"/>
                  </a:cubicBezTo>
                  <a:lnTo>
                    <a:pt x="828396" y="0"/>
                  </a:lnTo>
                  <a:close/>
                </a:path>
              </a:pathLst>
            </a:custGeom>
            <a:gradFill>
              <a:gsLst>
                <a:gs pos="22095">
                  <a:schemeClr val="accent2">
                    <a:alpha val="48000"/>
                  </a:schemeClr>
                </a:gs>
                <a:gs pos="1000">
                  <a:schemeClr val="accent1">
                    <a:alpha val="45000"/>
                  </a:schemeClr>
                </a:gs>
                <a:gs pos="99115">
                  <a:schemeClr val="bg1">
                    <a:alpha val="0"/>
                  </a:schemeClr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26620C-653C-2847-A222-1FCAC6DEBB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524523F1-D220-46A3-8067-EC4DF9F425A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7266" y="6362700"/>
            <a:ext cx="1342590" cy="150961"/>
          </a:xfrm>
          <a:prstGeom prst="rect">
            <a:avLst/>
          </a:prstGeom>
        </p:spPr>
      </p:pic>
      <p:pic>
        <p:nvPicPr>
          <p:cNvPr id="9230" name="Picture 14">
            <a:extLst>
              <a:ext uri="{FF2B5EF4-FFF2-40B4-BE49-F238E27FC236}">
                <a16:creationId xmlns:a16="http://schemas.microsoft.com/office/drawing/2014/main" id="{5563E8CA-D520-4F15-A7C2-FFC1BDB1D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51752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4236918-2A81-0748-B950-789BA0D88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9936448" cy="751294"/>
          </a:xfrm>
          <a:prstGeom prst="rect">
            <a:avLst/>
          </a:prstGeom>
        </p:spPr>
        <p:txBody>
          <a:bodyPr vert="horz"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C69B36-147E-A146-B44D-39F44768C1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545A2-C569-5C4D-8556-4771E90EDC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pic>
        <p:nvPicPr>
          <p:cNvPr id="13328" name="Picture 16">
            <a:extLst>
              <a:ext uri="{FF2B5EF4-FFF2-40B4-BE49-F238E27FC236}">
                <a16:creationId xmlns:a16="http://schemas.microsoft.com/office/drawing/2014/main" id="{0804A382-6DD9-4B4E-B0BC-42E31B1B55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39317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6" descr="FORTBRIDGE footer map">
            <a:extLst>
              <a:ext uri="{FF2B5EF4-FFF2-40B4-BE49-F238E27FC236}">
                <a16:creationId xmlns:a16="http://schemas.microsoft.com/office/drawing/2014/main" id="{67820950-5095-47AC-AA8C-FAD921E241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11" t="9161" r="57199" b="9161"/>
          <a:stretch/>
        </p:blipFill>
        <p:spPr bwMode="auto">
          <a:xfrm>
            <a:off x="6456345" y="762000"/>
            <a:ext cx="3838836" cy="383883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F359F62-B1A9-42B9-BA58-DCD4BA59AA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5096" t="74914" r="27034"/>
          <a:stretch/>
        </p:blipFill>
        <p:spPr>
          <a:xfrm>
            <a:off x="2514987" y="0"/>
            <a:ext cx="9677013" cy="54369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8827" t="79574" r="68810" b="14670"/>
          <a:stretch/>
        </p:blipFill>
        <p:spPr>
          <a:xfrm>
            <a:off x="985023" y="5737445"/>
            <a:ext cx="2717801" cy="393701"/>
          </a:xfrm>
          <a:prstGeom prst="rect">
            <a:avLst/>
          </a:prstGeom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574B526-2561-4C43-A545-A25A135C58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173" y="4135545"/>
            <a:ext cx="3175599" cy="290473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00000"/>
              </a:lnSpc>
              <a:buNone/>
              <a:defRPr sz="1200" b="1">
                <a:solidFill>
                  <a:srgbClr val="5F47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</a:t>
            </a:r>
            <a:r>
              <a:rPr lang="ro-RO" err="1"/>
              <a:t>name</a:t>
            </a:r>
            <a:endParaRPr lang="ro-RO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74F0D385-9660-8C46-A2F1-3593D6B81C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174" y="4934456"/>
            <a:ext cx="3175598" cy="439315"/>
          </a:xfrm>
          <a:prstGeom prst="rect">
            <a:avLst/>
          </a:prstGeom>
        </p:spPr>
        <p:txBody>
          <a:bodyPr lIns="0"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contact </a:t>
            </a:r>
            <a:r>
              <a:rPr lang="ro-RO" err="1"/>
              <a:t>information</a:t>
            </a:r>
            <a:endParaRPr lang="ro-RO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018BD13-834B-9F48-9169-ADD9F9E102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2174" y="4440556"/>
            <a:ext cx="3175598" cy="281852"/>
          </a:xfrm>
          <a:prstGeom prst="rect">
            <a:avLst/>
          </a:prstGeom>
        </p:spPr>
        <p:txBody>
          <a:bodyPr lIns="0" rIns="0" anchor="t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>
                <a:solidFill>
                  <a:srgbClr val="10CF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</a:t>
            </a:r>
            <a:r>
              <a:rPr lang="ro-RO" err="1"/>
              <a:t>position</a:t>
            </a:r>
            <a:r>
              <a:rPr lang="ro-RO"/>
              <a:t> </a:t>
            </a:r>
            <a:r>
              <a:rPr lang="ro-RO" err="1"/>
              <a:t>title</a:t>
            </a:r>
            <a:endParaRPr lang="ro-RO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14704A4-C0C9-4227-959B-46F97E0646B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2174" y="3619240"/>
            <a:ext cx="2945626" cy="331206"/>
          </a:xfrm>
          <a:prstGeom prst="rect">
            <a:avLst/>
          </a:prstGeom>
        </p:spPr>
      </p:pic>
      <p:pic>
        <p:nvPicPr>
          <p:cNvPr id="28685" name="Picture 13">
            <a:extLst>
              <a:ext uri="{FF2B5EF4-FFF2-40B4-BE49-F238E27FC236}">
                <a16:creationId xmlns:a16="http://schemas.microsoft.com/office/drawing/2014/main" id="{3B3BEC76-92DA-4078-B74A-9E4C96080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35359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hank You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000" y="-15306"/>
            <a:ext cx="12240000" cy="688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1731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 descr="A picture containing rainbow, nature&#10;&#10;Description automatically generated">
            <a:extLst>
              <a:ext uri="{FF2B5EF4-FFF2-40B4-BE49-F238E27FC236}">
                <a16:creationId xmlns:a16="http://schemas.microsoft.com/office/drawing/2014/main" id="{A7AEAD64-2264-41AA-B141-87877236F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9947"/>
          <a:stretch/>
        </p:blipFill>
        <p:spPr>
          <a:xfrm>
            <a:off x="0" y="0"/>
            <a:ext cx="12192000" cy="59073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A7DA5D6-C88F-DD49-A801-454F40CDF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4114" y="1701641"/>
            <a:ext cx="5863772" cy="1240336"/>
          </a:xfrm>
          <a:prstGeom prst="rect">
            <a:avLst/>
          </a:prstGeom>
        </p:spPr>
        <p:txBody>
          <a:bodyPr vert="horz" anchor="t"/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  <a:endParaRPr lang="ro-RO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A0AF4DA-04EA-8E43-B1EC-D611A4C7A60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64114" y="3090259"/>
            <a:ext cx="5863772" cy="56737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29502D4-9EDF-4F80-9F10-92511534A1C8}"/>
              </a:ext>
            </a:extLst>
          </p:cNvPr>
          <p:cNvGrpSpPr/>
          <p:nvPr userDrawn="1"/>
        </p:nvGrpSpPr>
        <p:grpSpPr>
          <a:xfrm>
            <a:off x="0" y="-1"/>
            <a:ext cx="12192001" cy="6858000"/>
            <a:chOff x="0" y="-1"/>
            <a:chExt cx="12192001" cy="6858000"/>
          </a:xfrm>
          <a:gradFill>
            <a:gsLst>
              <a:gs pos="100000">
                <a:srgbClr val="FFFFFF">
                  <a:alpha val="0"/>
                </a:srgbClr>
              </a:gs>
              <a:gs pos="0">
                <a:schemeClr val="bg1">
                  <a:alpha val="9000"/>
                </a:schemeClr>
              </a:gs>
            </a:gsLst>
            <a:lin ang="1800000" scaled="0"/>
          </a:gradFill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9405C1B-700B-4AA3-B23F-9216D438A439}"/>
                </a:ext>
              </a:extLst>
            </p:cNvPr>
            <p:cNvSpPr/>
            <p:nvPr userDrawn="1"/>
          </p:nvSpPr>
          <p:spPr>
            <a:xfrm>
              <a:off x="2215510" y="-1"/>
              <a:ext cx="9976491" cy="4563700"/>
            </a:xfrm>
            <a:custGeom>
              <a:avLst/>
              <a:gdLst>
                <a:gd name="connsiteX0" fmla="*/ 531360 w 9976491"/>
                <a:gd name="connsiteY0" fmla="*/ 0 h 4563700"/>
                <a:gd name="connsiteX1" fmla="*/ 1221397 w 9976491"/>
                <a:gd name="connsiteY1" fmla="*/ 0 h 4563700"/>
                <a:gd name="connsiteX2" fmla="*/ 1204386 w 9976491"/>
                <a:gd name="connsiteY2" fmla="*/ 87398 h 4563700"/>
                <a:gd name="connsiteX3" fmla="*/ 736619 w 9976491"/>
                <a:gd name="connsiteY3" fmla="*/ 1001449 h 4563700"/>
                <a:gd name="connsiteX4" fmla="*/ 701771 w 9976491"/>
                <a:gd name="connsiteY4" fmla="*/ 1161430 h 4563700"/>
                <a:gd name="connsiteX5" fmla="*/ 1340112 w 9976491"/>
                <a:gd name="connsiteY5" fmla="*/ 3266529 h 4563700"/>
                <a:gd name="connsiteX6" fmla="*/ 1457326 w 9976491"/>
                <a:gd name="connsiteY6" fmla="*/ 3379782 h 4563700"/>
                <a:gd name="connsiteX7" fmla="*/ 2297622 w 9976491"/>
                <a:gd name="connsiteY7" fmla="*/ 3828839 h 4563700"/>
                <a:gd name="connsiteX8" fmla="*/ 2456020 w 9976491"/>
                <a:gd name="connsiteY8" fmla="*/ 3863685 h 4563700"/>
                <a:gd name="connsiteX9" fmla="*/ 9976491 w 9976491"/>
                <a:gd name="connsiteY9" fmla="*/ 1584011 h 4563700"/>
                <a:gd name="connsiteX10" fmla="*/ 9976491 w 9976491"/>
                <a:gd name="connsiteY10" fmla="*/ 2286964 h 4563700"/>
                <a:gd name="connsiteX11" fmla="*/ 2559770 w 9976491"/>
                <a:gd name="connsiteY11" fmla="*/ 4535290 h 4563700"/>
                <a:gd name="connsiteX12" fmla="*/ 1892126 w 9976491"/>
                <a:gd name="connsiteY12" fmla="*/ 4370556 h 4563700"/>
                <a:gd name="connsiteX13" fmla="*/ 1230027 w 9976491"/>
                <a:gd name="connsiteY13" fmla="*/ 4016539 h 4563700"/>
                <a:gd name="connsiteX14" fmla="*/ 722363 w 9976491"/>
                <a:gd name="connsiteY14" fmla="*/ 3553227 h 4563700"/>
                <a:gd name="connsiteX15" fmla="*/ 29375 w 9976491"/>
                <a:gd name="connsiteY15" fmla="*/ 1265972 h 4563700"/>
                <a:gd name="connsiteX16" fmla="*/ 183812 w 9976491"/>
                <a:gd name="connsiteY16" fmla="*/ 609416 h 4563700"/>
                <a:gd name="connsiteX17" fmla="*/ 482724 w 9976491"/>
                <a:gd name="connsiteY17" fmla="*/ 149431 h 4563700"/>
                <a:gd name="connsiteX18" fmla="*/ 531360 w 9976491"/>
                <a:gd name="connsiteY18" fmla="*/ 0 h 456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976491" h="4563700">
                  <a:moveTo>
                    <a:pt x="531360" y="0"/>
                  </a:moveTo>
                  <a:lnTo>
                    <a:pt x="1221397" y="0"/>
                  </a:lnTo>
                  <a:lnTo>
                    <a:pt x="1204386" y="87398"/>
                  </a:lnTo>
                  <a:cubicBezTo>
                    <a:pt x="1127266" y="426269"/>
                    <a:pt x="965899" y="741282"/>
                    <a:pt x="736619" y="1001449"/>
                  </a:cubicBezTo>
                  <a:cubicBezTo>
                    <a:pt x="697812" y="1045008"/>
                    <a:pt x="685140" y="1105199"/>
                    <a:pt x="701771" y="1161430"/>
                  </a:cubicBezTo>
                  <a:lnTo>
                    <a:pt x="1340112" y="3266529"/>
                  </a:lnTo>
                  <a:cubicBezTo>
                    <a:pt x="1356744" y="3321968"/>
                    <a:pt x="1401094" y="3364734"/>
                    <a:pt x="1457326" y="3379782"/>
                  </a:cubicBezTo>
                  <a:cubicBezTo>
                    <a:pt x="1767784" y="3462941"/>
                    <a:pt x="2056066" y="3616586"/>
                    <a:pt x="2297622" y="3828839"/>
                  </a:cubicBezTo>
                  <a:cubicBezTo>
                    <a:pt x="2340390" y="3867645"/>
                    <a:pt x="2400580" y="3880318"/>
                    <a:pt x="2456020" y="3863685"/>
                  </a:cubicBezTo>
                  <a:lnTo>
                    <a:pt x="9976491" y="1584011"/>
                  </a:lnTo>
                  <a:lnTo>
                    <a:pt x="9976491" y="2286964"/>
                  </a:lnTo>
                  <a:lnTo>
                    <a:pt x="2559770" y="4535290"/>
                  </a:lnTo>
                  <a:cubicBezTo>
                    <a:pt x="2323758" y="4606569"/>
                    <a:pt x="2071116" y="4540833"/>
                    <a:pt x="1892126" y="4370556"/>
                  </a:cubicBezTo>
                  <a:cubicBezTo>
                    <a:pt x="1707592" y="4194736"/>
                    <a:pt x="1477916" y="4071978"/>
                    <a:pt x="1230027" y="4016539"/>
                  </a:cubicBezTo>
                  <a:cubicBezTo>
                    <a:pt x="989262" y="3962684"/>
                    <a:pt x="793642" y="3788447"/>
                    <a:pt x="722363" y="3553227"/>
                  </a:cubicBezTo>
                  <a:lnTo>
                    <a:pt x="29375" y="1265972"/>
                  </a:lnTo>
                  <a:cubicBezTo>
                    <a:pt x="-40320" y="1035504"/>
                    <a:pt x="15119" y="782068"/>
                    <a:pt x="183812" y="609416"/>
                  </a:cubicBezTo>
                  <a:cubicBezTo>
                    <a:pt x="313005" y="476956"/>
                    <a:pt x="414466" y="320217"/>
                    <a:pt x="482724" y="149431"/>
                  </a:cubicBezTo>
                  <a:lnTo>
                    <a:pt x="53136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6FC93D3-01F5-449A-BFC4-FCEC6D96707C}"/>
                </a:ext>
              </a:extLst>
            </p:cNvPr>
            <p:cNvSpPr/>
            <p:nvPr userDrawn="1"/>
          </p:nvSpPr>
          <p:spPr>
            <a:xfrm>
              <a:off x="0" y="352419"/>
              <a:ext cx="12192000" cy="6505580"/>
            </a:xfrm>
            <a:custGeom>
              <a:avLst/>
              <a:gdLst>
                <a:gd name="connsiteX0" fmla="*/ 0 w 12192000"/>
                <a:gd name="connsiteY0" fmla="*/ 0 h 6505580"/>
                <a:gd name="connsiteX1" fmla="*/ 122186 w 12192000"/>
                <a:gd name="connsiteY1" fmla="*/ 40242 h 6505580"/>
                <a:gd name="connsiteX2" fmla="*/ 355206 w 12192000"/>
                <a:gd name="connsiteY2" fmla="*/ 211060 h 6505580"/>
                <a:gd name="connsiteX3" fmla="*/ 1106801 w 12192000"/>
                <a:gd name="connsiteY3" fmla="*/ 646653 h 6505580"/>
                <a:gd name="connsiteX4" fmla="*/ 1602584 w 12192000"/>
                <a:gd name="connsiteY4" fmla="*/ 1111548 h 6505580"/>
                <a:gd name="connsiteX5" fmla="*/ 2294780 w 12192000"/>
                <a:gd name="connsiteY5" fmla="*/ 3394844 h 6505580"/>
                <a:gd name="connsiteX6" fmla="*/ 2135590 w 12192000"/>
                <a:gd name="connsiteY6" fmla="*/ 4056152 h 6505580"/>
                <a:gd name="connsiteX7" fmla="*/ 1829883 w 12192000"/>
                <a:gd name="connsiteY7" fmla="*/ 5518158 h 6505580"/>
                <a:gd name="connsiteX8" fmla="*/ 3462959 w 12192000"/>
                <a:gd name="connsiteY8" fmla="*/ 6391719 h 6505580"/>
                <a:gd name="connsiteX9" fmla="*/ 4509170 w 12192000"/>
                <a:gd name="connsiteY9" fmla="*/ 5325706 h 6505580"/>
                <a:gd name="connsiteX10" fmla="*/ 4970898 w 12192000"/>
                <a:gd name="connsiteY10" fmla="*/ 4826755 h 6505580"/>
                <a:gd name="connsiteX11" fmla="*/ 12192000 w 12192000"/>
                <a:gd name="connsiteY11" fmla="*/ 2637729 h 6505580"/>
                <a:gd name="connsiteX12" fmla="*/ 12192000 w 12192000"/>
                <a:gd name="connsiteY12" fmla="*/ 3340660 h 6505580"/>
                <a:gd name="connsiteX13" fmla="*/ 5256806 w 12192000"/>
                <a:gd name="connsiteY13" fmla="*/ 5442919 h 6505580"/>
                <a:gd name="connsiteX14" fmla="*/ 5143554 w 12192000"/>
                <a:gd name="connsiteY14" fmla="*/ 5560134 h 6505580"/>
                <a:gd name="connsiteX15" fmla="*/ 4643314 w 12192000"/>
                <a:gd name="connsiteY15" fmla="*/ 6457157 h 6505580"/>
                <a:gd name="connsiteX16" fmla="*/ 4591278 w 12192000"/>
                <a:gd name="connsiteY16" fmla="*/ 6505580 h 6505580"/>
                <a:gd name="connsiteX17" fmla="*/ 1686583 w 12192000"/>
                <a:gd name="connsiteY17" fmla="*/ 6505580 h 6505580"/>
                <a:gd name="connsiteX18" fmla="*/ 1684267 w 12192000"/>
                <a:gd name="connsiteY18" fmla="*/ 6503505 h 6505580"/>
                <a:gd name="connsiteX19" fmla="*/ 1158280 w 12192000"/>
                <a:gd name="connsiteY19" fmla="*/ 5630621 h 6505580"/>
                <a:gd name="connsiteX20" fmla="*/ 1650895 w 12192000"/>
                <a:gd name="connsiteY20" fmla="*/ 3591257 h 6505580"/>
                <a:gd name="connsiteX21" fmla="*/ 984835 w 12192000"/>
                <a:gd name="connsiteY21" fmla="*/ 1394288 h 6505580"/>
                <a:gd name="connsiteX22" fmla="*/ 867620 w 12192000"/>
                <a:gd name="connsiteY22" fmla="*/ 1281033 h 6505580"/>
                <a:gd name="connsiteX23" fmla="*/ 18364 w 12192000"/>
                <a:gd name="connsiteY23" fmla="*/ 823921 h 6505580"/>
                <a:gd name="connsiteX24" fmla="*/ 0 w 12192000"/>
                <a:gd name="connsiteY24" fmla="*/ 806400 h 6505580"/>
                <a:gd name="connsiteX25" fmla="*/ 0 w 12192000"/>
                <a:gd name="connsiteY25" fmla="*/ 0 h 6505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192000" h="6505580">
                  <a:moveTo>
                    <a:pt x="0" y="0"/>
                  </a:moveTo>
                  <a:lnTo>
                    <a:pt x="122186" y="40242"/>
                  </a:lnTo>
                  <a:cubicBezTo>
                    <a:pt x="209270" y="79418"/>
                    <a:pt x="288976" y="137109"/>
                    <a:pt x="355206" y="211060"/>
                  </a:cubicBezTo>
                  <a:cubicBezTo>
                    <a:pt x="553202" y="432025"/>
                    <a:pt x="817726" y="584877"/>
                    <a:pt x="1106801" y="646653"/>
                  </a:cubicBezTo>
                  <a:cubicBezTo>
                    <a:pt x="1344397" y="697340"/>
                    <a:pt x="1532097" y="878705"/>
                    <a:pt x="1602584" y="1111548"/>
                  </a:cubicBezTo>
                  <a:lnTo>
                    <a:pt x="2294780" y="3394844"/>
                  </a:lnTo>
                  <a:cubicBezTo>
                    <a:pt x="2365266" y="3627688"/>
                    <a:pt x="2304283" y="3881123"/>
                    <a:pt x="2135590" y="4056152"/>
                  </a:cubicBezTo>
                  <a:cubicBezTo>
                    <a:pt x="1776029" y="4429177"/>
                    <a:pt x="1634263" y="4990696"/>
                    <a:pt x="1829883" y="5518158"/>
                  </a:cubicBezTo>
                  <a:cubicBezTo>
                    <a:pt x="2073815" y="6175506"/>
                    <a:pt x="2781058" y="6554076"/>
                    <a:pt x="3462959" y="6391719"/>
                  </a:cubicBezTo>
                  <a:cubicBezTo>
                    <a:pt x="4010221" y="6261833"/>
                    <a:pt x="4398294" y="5831784"/>
                    <a:pt x="4509170" y="5325706"/>
                  </a:cubicBezTo>
                  <a:cubicBezTo>
                    <a:pt x="4561442" y="5088110"/>
                    <a:pt x="4738058" y="4897241"/>
                    <a:pt x="4970898" y="4826755"/>
                  </a:cubicBezTo>
                  <a:lnTo>
                    <a:pt x="12192000" y="2637729"/>
                  </a:lnTo>
                  <a:lnTo>
                    <a:pt x="12192000" y="3340660"/>
                  </a:lnTo>
                  <a:lnTo>
                    <a:pt x="5256806" y="5442919"/>
                  </a:lnTo>
                  <a:cubicBezTo>
                    <a:pt x="5201370" y="5459551"/>
                    <a:pt x="5158598" y="5503903"/>
                    <a:pt x="5143554" y="5560134"/>
                  </a:cubicBezTo>
                  <a:cubicBezTo>
                    <a:pt x="5054454" y="5895539"/>
                    <a:pt x="4882197" y="6204810"/>
                    <a:pt x="4643314" y="6457157"/>
                  </a:cubicBezTo>
                  <a:lnTo>
                    <a:pt x="4591278" y="6505580"/>
                  </a:lnTo>
                  <a:lnTo>
                    <a:pt x="1686583" y="6505580"/>
                  </a:lnTo>
                  <a:lnTo>
                    <a:pt x="1684267" y="6503505"/>
                  </a:lnTo>
                  <a:cubicBezTo>
                    <a:pt x="1446349" y="6268710"/>
                    <a:pt x="1261980" y="5972907"/>
                    <a:pt x="1158280" y="5630621"/>
                  </a:cubicBezTo>
                  <a:cubicBezTo>
                    <a:pt x="932564" y="4887737"/>
                    <a:pt x="1147192" y="4114759"/>
                    <a:pt x="1650895" y="3591257"/>
                  </a:cubicBezTo>
                  <a:lnTo>
                    <a:pt x="984835" y="1394288"/>
                  </a:lnTo>
                  <a:cubicBezTo>
                    <a:pt x="968203" y="1338849"/>
                    <a:pt x="923851" y="1296081"/>
                    <a:pt x="867620" y="1281033"/>
                  </a:cubicBezTo>
                  <a:cubicBezTo>
                    <a:pt x="553004" y="1197182"/>
                    <a:pt x="261430" y="1040567"/>
                    <a:pt x="18364" y="823921"/>
                  </a:cubicBezTo>
                  <a:lnTo>
                    <a:pt x="0" y="806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DF4A843D-C5CD-4883-B866-4DCCAC5E4CE8}"/>
              </a:ext>
            </a:extLst>
          </p:cNvPr>
          <p:cNvSpPr/>
          <p:nvPr userDrawn="1"/>
        </p:nvSpPr>
        <p:spPr>
          <a:xfrm>
            <a:off x="3176" y="5036457"/>
            <a:ext cx="12188824" cy="182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5B2E4717-A806-48A3-B09E-C1437AC14F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09786" y="5530391"/>
            <a:ext cx="4372428" cy="491635"/>
          </a:xfrm>
          <a:prstGeom prst="rect">
            <a:avLst/>
          </a:prstGeom>
        </p:spPr>
      </p:pic>
      <p:pic>
        <p:nvPicPr>
          <p:cNvPr id="18447" name="Picture 15">
            <a:extLst>
              <a:ext uri="{FF2B5EF4-FFF2-40B4-BE49-F238E27FC236}">
                <a16:creationId xmlns:a16="http://schemas.microsoft.com/office/drawing/2014/main" id="{5379DC86-275C-420A-B037-237EAFA62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0733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6" r="196"/>
          <a:stretch/>
        </p:blipFill>
        <p:spPr>
          <a:xfrm>
            <a:off x="0" y="-15306"/>
            <a:ext cx="12192000" cy="6888613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A24CA8DA-CE54-AC4B-A2CC-262161C2E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31" y="4186953"/>
            <a:ext cx="5480653" cy="1756647"/>
          </a:xfrm>
          <a:prstGeom prst="rect">
            <a:avLst/>
          </a:prstGeom>
        </p:spPr>
        <p:txBody>
          <a:bodyPr vert="horz" anchor="ctr"/>
          <a:lstStyle>
            <a:lvl1pPr>
              <a:defRPr sz="4400" cap="all" baseline="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ro-RO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ECECC2-8BB3-4DDD-949B-C2970CBC3A2F}"/>
              </a:ext>
            </a:extLst>
          </p:cNvPr>
          <p:cNvSpPr/>
          <p:nvPr userDrawn="1"/>
        </p:nvSpPr>
        <p:spPr>
          <a:xfrm>
            <a:off x="431800" y="6121400"/>
            <a:ext cx="2324100" cy="73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D981BA6-1B04-47E5-A58C-F843853451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7266" y="6362700"/>
            <a:ext cx="1342590" cy="150961"/>
          </a:xfrm>
          <a:prstGeom prst="rect">
            <a:avLst/>
          </a:prstGeom>
        </p:spPr>
      </p:pic>
      <p:pic>
        <p:nvPicPr>
          <p:cNvPr id="20495" name="Picture 15">
            <a:extLst>
              <a:ext uri="{FF2B5EF4-FFF2-40B4-BE49-F238E27FC236}">
                <a16:creationId xmlns:a16="http://schemas.microsoft.com/office/drawing/2014/main" id="{B462E0C0-64DB-4678-B1A7-1D419097E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05387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hapter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6" r="196"/>
          <a:stretch/>
        </p:blipFill>
        <p:spPr>
          <a:xfrm>
            <a:off x="0" y="-15306"/>
            <a:ext cx="12192000" cy="6888613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A24CA8DA-CE54-AC4B-A2CC-262161C2E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31" y="4186953"/>
            <a:ext cx="5480653" cy="1756647"/>
          </a:xfrm>
          <a:prstGeom prst="rect">
            <a:avLst/>
          </a:prstGeom>
        </p:spPr>
        <p:txBody>
          <a:bodyPr vert="horz" anchor="ctr"/>
          <a:lstStyle>
            <a:lvl1pPr>
              <a:defRPr sz="4400" cap="all" baseline="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ro-RO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ECECC2-8BB3-4DDD-949B-C2970CBC3A2F}"/>
              </a:ext>
            </a:extLst>
          </p:cNvPr>
          <p:cNvSpPr/>
          <p:nvPr userDrawn="1"/>
        </p:nvSpPr>
        <p:spPr>
          <a:xfrm>
            <a:off x="431800" y="6121400"/>
            <a:ext cx="2324100" cy="73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D981BA6-1B04-47E5-A58C-F843853451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7266" y="6362700"/>
            <a:ext cx="1342590" cy="150961"/>
          </a:xfrm>
          <a:prstGeom prst="rect">
            <a:avLst/>
          </a:prstGeom>
        </p:spPr>
      </p:pic>
      <p:pic>
        <p:nvPicPr>
          <p:cNvPr id="20495" name="Picture 15">
            <a:extLst>
              <a:ext uri="{FF2B5EF4-FFF2-40B4-BE49-F238E27FC236}">
                <a16:creationId xmlns:a16="http://schemas.microsoft.com/office/drawing/2014/main" id="{B462E0C0-64DB-4678-B1A7-1D419097E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13044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E76379EA-8B16-3D44-B4FB-3D5A820D6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793" y="804651"/>
            <a:ext cx="7107158" cy="711312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5943A7E-EDB9-A84A-88CF-E1BF466B2D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794" y="2561968"/>
            <a:ext cx="5070618" cy="2955085"/>
          </a:xfrm>
          <a:prstGeom prst="rect">
            <a:avLst/>
          </a:prstGeom>
        </p:spPr>
        <p:txBody>
          <a:bodyPr/>
          <a:lstStyle>
            <a:lvl1pPr marL="457200" indent="-457200" algn="l">
              <a:buFont typeface="Arial" panose="020B0604020202020204" pitchFamily="34" charset="0"/>
              <a:buChar char="•"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tex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C867793-1601-DF44-8660-DF417B481E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D2C74-363A-DC42-AF2E-8E8249979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4C0B19E-869F-B141-9FC0-F101F278B268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545793" y="1538006"/>
            <a:ext cx="3937000" cy="56737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pic>
        <p:nvPicPr>
          <p:cNvPr id="21519" name="Picture 15">
            <a:extLst>
              <a:ext uri="{FF2B5EF4-FFF2-40B4-BE49-F238E27FC236}">
                <a16:creationId xmlns:a16="http://schemas.microsoft.com/office/drawing/2014/main" id="{13AC7C64-AE07-4429-A626-932038D41E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07599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hapter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6" r="196"/>
          <a:stretch/>
        </p:blipFill>
        <p:spPr>
          <a:xfrm>
            <a:off x="0" y="-15306"/>
            <a:ext cx="12192000" cy="6888612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A24CA8DA-CE54-AC4B-A2CC-262161C2E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6731" y="1291351"/>
            <a:ext cx="3757572" cy="1756647"/>
          </a:xfrm>
          <a:prstGeom prst="rect">
            <a:avLst/>
          </a:prstGeom>
        </p:spPr>
        <p:txBody>
          <a:bodyPr vert="horz" anchor="ctr"/>
          <a:lstStyle>
            <a:lvl1pPr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ro-RO"/>
          </a:p>
        </p:txBody>
      </p:sp>
      <p:pic>
        <p:nvPicPr>
          <p:cNvPr id="19471" name="Picture 15">
            <a:extLst>
              <a:ext uri="{FF2B5EF4-FFF2-40B4-BE49-F238E27FC236}">
                <a16:creationId xmlns:a16="http://schemas.microsoft.com/office/drawing/2014/main" id="{0137F1C4-CE84-40B3-ABA3-9BFAD1DA4A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94429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742113-BEAC-BA46-A20D-83BEC0AD88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D17D6C-5FC4-F944-869D-683CA7F74AD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735" y="4521188"/>
            <a:ext cx="3970758" cy="63860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A27CBD6-7464-5C40-8E9F-76E8ED4D9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028" y="3450592"/>
            <a:ext cx="3974172" cy="751294"/>
          </a:xfrm>
          <a:prstGeom prst="rect">
            <a:avLst/>
          </a:prstGeom>
        </p:spPr>
        <p:txBody>
          <a:bodyPr vert="horz" anchor="t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445B3CA-A996-411A-AF0F-5006DF8390FD}"/>
              </a:ext>
            </a:extLst>
          </p:cNvPr>
          <p:cNvGrpSpPr/>
          <p:nvPr userDrawn="1"/>
        </p:nvGrpSpPr>
        <p:grpSpPr>
          <a:xfrm flipH="1">
            <a:off x="-61550" y="0"/>
            <a:ext cx="12471590" cy="7684497"/>
            <a:chOff x="-15511" y="0"/>
            <a:chExt cx="12471590" cy="7684497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B7208AE-8307-4C71-BB19-2E0C934428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62189" b="16724"/>
            <a:stretch/>
          </p:blipFill>
          <p:spPr>
            <a:xfrm>
              <a:off x="-15511" y="0"/>
              <a:ext cx="5557431" cy="6888613"/>
            </a:xfrm>
            <a:prstGeom prst="rect">
              <a:avLst/>
            </a:prstGeom>
          </p:spPr>
        </p:pic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7E6A10E-E20B-4107-BAD1-F1BFAE90682F}"/>
                </a:ext>
              </a:extLst>
            </p:cNvPr>
            <p:cNvSpPr/>
            <p:nvPr userDrawn="1"/>
          </p:nvSpPr>
          <p:spPr>
            <a:xfrm>
              <a:off x="4615689" y="0"/>
              <a:ext cx="7840390" cy="7684497"/>
            </a:xfrm>
            <a:custGeom>
              <a:avLst/>
              <a:gdLst>
                <a:gd name="connsiteX0" fmla="*/ 828396 w 7727410"/>
                <a:gd name="connsiteY0" fmla="*/ 0 h 7551954"/>
                <a:gd name="connsiteX1" fmla="*/ 1917673 w 7727410"/>
                <a:gd name="connsiteY1" fmla="*/ 0 h 7551954"/>
                <a:gd name="connsiteX2" fmla="*/ 1896603 w 7727410"/>
                <a:gd name="connsiteY2" fmla="*/ 109983 h 7551954"/>
                <a:gd name="connsiteX3" fmla="*/ 1161955 w 7727410"/>
                <a:gd name="connsiteY3" fmla="*/ 1556854 h 7551954"/>
                <a:gd name="connsiteX4" fmla="*/ 1107587 w 7727410"/>
                <a:gd name="connsiteY4" fmla="*/ 1809666 h 7551954"/>
                <a:gd name="connsiteX5" fmla="*/ 1736897 w 7727410"/>
                <a:gd name="connsiteY5" fmla="*/ 3863420 h 7551954"/>
                <a:gd name="connsiteX6" fmla="*/ 1923108 w 7727410"/>
                <a:gd name="connsiteY6" fmla="*/ 4042834 h 7551954"/>
                <a:gd name="connsiteX7" fmla="*/ 3932008 w 7727410"/>
                <a:gd name="connsiteY7" fmla="*/ 5573296 h 7551954"/>
                <a:gd name="connsiteX8" fmla="*/ 4222878 w 7727410"/>
                <a:gd name="connsiteY8" fmla="*/ 6242022 h 7551954"/>
                <a:gd name="connsiteX9" fmla="*/ 4551804 w 7727410"/>
                <a:gd name="connsiteY9" fmla="*/ 6410564 h 7551954"/>
                <a:gd name="connsiteX10" fmla="*/ 7727410 w 7727410"/>
                <a:gd name="connsiteY10" fmla="*/ 5436795 h 7551954"/>
                <a:gd name="connsiteX11" fmla="*/ 7727410 w 7727410"/>
                <a:gd name="connsiteY11" fmla="*/ 6548877 h 7551954"/>
                <a:gd name="connsiteX12" fmla="*/ 4610250 w 7727410"/>
                <a:gd name="connsiteY12" fmla="*/ 7504720 h 7551954"/>
                <a:gd name="connsiteX13" fmla="*/ 3282310 w 7727410"/>
                <a:gd name="connsiteY13" fmla="*/ 6800654 h 7551954"/>
                <a:gd name="connsiteX14" fmla="*/ 3025420 w 7727410"/>
                <a:gd name="connsiteY14" fmla="*/ 6130568 h 7551954"/>
                <a:gd name="connsiteX15" fmla="*/ 1561560 w 7727410"/>
                <a:gd name="connsiteY15" fmla="*/ 5048644 h 7551954"/>
                <a:gd name="connsiteX16" fmla="*/ 765068 w 7727410"/>
                <a:gd name="connsiteY16" fmla="*/ 4320110 h 7551954"/>
                <a:gd name="connsiteX17" fmla="*/ 47410 w 7727410"/>
                <a:gd name="connsiteY17" fmla="*/ 1979566 h 7551954"/>
                <a:gd name="connsiteX18" fmla="*/ 287989 w 7727410"/>
                <a:gd name="connsiteY18" fmla="*/ 941136 h 7551954"/>
                <a:gd name="connsiteX19" fmla="*/ 806731 w 7727410"/>
                <a:gd name="connsiteY19" fmla="*/ 75774 h 7551954"/>
                <a:gd name="connsiteX20" fmla="*/ 828396 w 7727410"/>
                <a:gd name="connsiteY20" fmla="*/ 0 h 755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27410" h="7551954">
                  <a:moveTo>
                    <a:pt x="828396" y="0"/>
                  </a:moveTo>
                  <a:lnTo>
                    <a:pt x="1917673" y="0"/>
                  </a:lnTo>
                  <a:lnTo>
                    <a:pt x="1896603" y="109983"/>
                  </a:lnTo>
                  <a:cubicBezTo>
                    <a:pt x="1776314" y="645849"/>
                    <a:pt x="1522823" y="1144336"/>
                    <a:pt x="1161955" y="1556854"/>
                  </a:cubicBezTo>
                  <a:cubicBezTo>
                    <a:pt x="1100791" y="1626174"/>
                    <a:pt x="1080403" y="1721318"/>
                    <a:pt x="1107587" y="1809666"/>
                  </a:cubicBezTo>
                  <a:lnTo>
                    <a:pt x="1736897" y="3863420"/>
                  </a:lnTo>
                  <a:cubicBezTo>
                    <a:pt x="1762722" y="3951768"/>
                    <a:pt x="1834760" y="4019728"/>
                    <a:pt x="1923108" y="4042834"/>
                  </a:cubicBezTo>
                  <a:cubicBezTo>
                    <a:pt x="2757657" y="4261666"/>
                    <a:pt x="3497064" y="4801268"/>
                    <a:pt x="3932008" y="5573296"/>
                  </a:cubicBezTo>
                  <a:cubicBezTo>
                    <a:pt x="4062491" y="5805718"/>
                    <a:pt x="4161714" y="6059888"/>
                    <a:pt x="4222878" y="6242022"/>
                  </a:cubicBezTo>
                  <a:cubicBezTo>
                    <a:pt x="4269091" y="6377942"/>
                    <a:pt x="4414525" y="6452698"/>
                    <a:pt x="4551804" y="6410564"/>
                  </a:cubicBezTo>
                  <a:lnTo>
                    <a:pt x="7727410" y="5436795"/>
                  </a:lnTo>
                  <a:lnTo>
                    <a:pt x="7727410" y="6548877"/>
                  </a:lnTo>
                  <a:lnTo>
                    <a:pt x="4610250" y="7504720"/>
                  </a:lnTo>
                  <a:cubicBezTo>
                    <a:pt x="4048899" y="7677338"/>
                    <a:pt x="3454929" y="7362004"/>
                    <a:pt x="3282310" y="6800654"/>
                  </a:cubicBezTo>
                  <a:cubicBezTo>
                    <a:pt x="3282310" y="6800654"/>
                    <a:pt x="3196680" y="6441826"/>
                    <a:pt x="3025420" y="6130568"/>
                  </a:cubicBezTo>
                  <a:cubicBezTo>
                    <a:pt x="2715523" y="5567858"/>
                    <a:pt x="2173201" y="5180486"/>
                    <a:pt x="1561560" y="5048644"/>
                  </a:cubicBezTo>
                  <a:cubicBezTo>
                    <a:pt x="1183702" y="4967092"/>
                    <a:pt x="877882" y="4689814"/>
                    <a:pt x="765068" y="4320110"/>
                  </a:cubicBezTo>
                  <a:lnTo>
                    <a:pt x="47410" y="1979566"/>
                  </a:lnTo>
                  <a:cubicBezTo>
                    <a:pt x="-64045" y="1615300"/>
                    <a:pt x="22944" y="1214334"/>
                    <a:pt x="287989" y="941136"/>
                  </a:cubicBezTo>
                  <a:cubicBezTo>
                    <a:pt x="525255" y="696140"/>
                    <a:pt x="702683" y="399111"/>
                    <a:pt x="806731" y="75774"/>
                  </a:cubicBezTo>
                  <a:lnTo>
                    <a:pt x="828396" y="0"/>
                  </a:lnTo>
                  <a:close/>
                </a:path>
              </a:pathLst>
            </a:custGeom>
            <a:gradFill>
              <a:gsLst>
                <a:gs pos="22095">
                  <a:schemeClr val="accent2">
                    <a:alpha val="48000"/>
                  </a:schemeClr>
                </a:gs>
                <a:gs pos="1000">
                  <a:schemeClr val="accent1">
                    <a:alpha val="45000"/>
                  </a:schemeClr>
                </a:gs>
                <a:gs pos="99115">
                  <a:schemeClr val="bg1">
                    <a:alpha val="0"/>
                  </a:schemeClr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26620C-653C-2847-A222-1FCAC6DEBB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524523F1-D220-46A3-8067-EC4DF9F425A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7266" y="6362700"/>
            <a:ext cx="1342590" cy="150961"/>
          </a:xfrm>
          <a:prstGeom prst="rect">
            <a:avLst/>
          </a:prstGeom>
        </p:spPr>
      </p:pic>
      <p:pic>
        <p:nvPicPr>
          <p:cNvPr id="9230" name="Picture 14">
            <a:extLst>
              <a:ext uri="{FF2B5EF4-FFF2-40B4-BE49-F238E27FC236}">
                <a16:creationId xmlns:a16="http://schemas.microsoft.com/office/drawing/2014/main" id="{5563E8CA-D520-4F15-A7C2-FFC1BDB1D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64211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4236918-2A81-0748-B950-789BA0D88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9936448" cy="751294"/>
          </a:xfrm>
          <a:prstGeom prst="rect">
            <a:avLst/>
          </a:prstGeom>
        </p:spPr>
        <p:txBody>
          <a:bodyPr vert="horz"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C69B36-147E-A146-B44D-39F44768C1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545A2-C569-5C4D-8556-4771E90EDC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pic>
        <p:nvPicPr>
          <p:cNvPr id="13328" name="Picture 16">
            <a:extLst>
              <a:ext uri="{FF2B5EF4-FFF2-40B4-BE49-F238E27FC236}">
                <a16:creationId xmlns:a16="http://schemas.microsoft.com/office/drawing/2014/main" id="{0804A382-6DD9-4B4E-B0BC-42E31B1B55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75961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6" descr="FORTBRIDGE footer map">
            <a:extLst>
              <a:ext uri="{FF2B5EF4-FFF2-40B4-BE49-F238E27FC236}">
                <a16:creationId xmlns:a16="http://schemas.microsoft.com/office/drawing/2014/main" id="{67820950-5095-47AC-AA8C-FAD921E241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11" t="9161" r="57199" b="9161"/>
          <a:stretch/>
        </p:blipFill>
        <p:spPr bwMode="auto">
          <a:xfrm>
            <a:off x="6456345" y="762000"/>
            <a:ext cx="3838836" cy="383883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F359F62-B1A9-42B9-BA58-DCD4BA59AA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5096" t="74914" r="27034"/>
          <a:stretch/>
        </p:blipFill>
        <p:spPr>
          <a:xfrm>
            <a:off x="2514987" y="0"/>
            <a:ext cx="9677013" cy="54369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8827" t="79574" r="68810" b="14670"/>
          <a:stretch/>
        </p:blipFill>
        <p:spPr>
          <a:xfrm>
            <a:off x="985023" y="5737445"/>
            <a:ext cx="2717801" cy="393701"/>
          </a:xfrm>
          <a:prstGeom prst="rect">
            <a:avLst/>
          </a:prstGeom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574B526-2561-4C43-A545-A25A135C58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173" y="4135545"/>
            <a:ext cx="3175599" cy="290473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00000"/>
              </a:lnSpc>
              <a:buNone/>
              <a:defRPr sz="1200" b="1">
                <a:solidFill>
                  <a:srgbClr val="5F47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</a:t>
            </a:r>
            <a:r>
              <a:rPr lang="ro-RO" err="1"/>
              <a:t>name</a:t>
            </a:r>
            <a:endParaRPr lang="ro-RO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74F0D385-9660-8C46-A2F1-3593D6B81C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174" y="4934456"/>
            <a:ext cx="3175598" cy="439315"/>
          </a:xfrm>
          <a:prstGeom prst="rect">
            <a:avLst/>
          </a:prstGeom>
        </p:spPr>
        <p:txBody>
          <a:bodyPr lIns="0"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contact </a:t>
            </a:r>
            <a:r>
              <a:rPr lang="ro-RO" err="1"/>
              <a:t>information</a:t>
            </a:r>
            <a:endParaRPr lang="ro-RO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018BD13-834B-9F48-9169-ADD9F9E102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2174" y="4440556"/>
            <a:ext cx="3175598" cy="281852"/>
          </a:xfrm>
          <a:prstGeom prst="rect">
            <a:avLst/>
          </a:prstGeom>
        </p:spPr>
        <p:txBody>
          <a:bodyPr lIns="0" rIns="0" anchor="t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 b="0">
                <a:solidFill>
                  <a:srgbClr val="10CF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o-RO"/>
              <a:t>Insert </a:t>
            </a:r>
            <a:r>
              <a:rPr lang="ro-RO" err="1"/>
              <a:t>position</a:t>
            </a:r>
            <a:r>
              <a:rPr lang="ro-RO"/>
              <a:t> </a:t>
            </a:r>
            <a:r>
              <a:rPr lang="ro-RO" err="1"/>
              <a:t>title</a:t>
            </a:r>
            <a:endParaRPr lang="ro-RO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14704A4-C0C9-4227-959B-46F97E0646B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2174" y="3619240"/>
            <a:ext cx="2945626" cy="331206"/>
          </a:xfrm>
          <a:prstGeom prst="rect">
            <a:avLst/>
          </a:prstGeom>
        </p:spPr>
      </p:pic>
      <p:pic>
        <p:nvPicPr>
          <p:cNvPr id="28685" name="Picture 13">
            <a:extLst>
              <a:ext uri="{FF2B5EF4-FFF2-40B4-BE49-F238E27FC236}">
                <a16:creationId xmlns:a16="http://schemas.microsoft.com/office/drawing/2014/main" id="{3B3BEC76-92DA-4078-B74A-9E4C96080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66144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hank You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000" y="-15306"/>
            <a:ext cx="12240000" cy="688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7119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BFDC07-A3FB-801D-6E55-4EB9DFBA14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65C8F2-D8A0-AAA7-5477-8D611D2055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047C92-7B35-63FD-7802-83D8DDC9E7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770A2-E936-2949-9115-B1C2B7DB7E1A}" type="datetimeFigureOut">
              <a:rPr lang="en-IL" smtClean="0"/>
              <a:t>04/11/2025</a:t>
            </a:fld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B60B2-7CDF-34A9-055C-9DBEA02D47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49D0F9-505D-C98D-7741-902FA2C10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6625939-760D-B747-AE1E-3E7C0F4D780F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8050164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75C6E1E-8141-9A41-9090-FAFD069334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613"/>
            <a:ext cx="12240000" cy="6888613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A24CA8DA-CE54-AC4B-A2CC-262161C2E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0531" y="1507251"/>
            <a:ext cx="3944983" cy="1756647"/>
          </a:xfrm>
          <a:prstGeom prst="rect">
            <a:avLst/>
          </a:prstGeom>
        </p:spPr>
        <p:txBody>
          <a:bodyPr anchor="ctr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o-RO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DF3CA95-E607-024B-84D3-8629825E23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44631" y="3308399"/>
            <a:ext cx="3835706" cy="1301702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20000"/>
              </a:lnSpc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text</a:t>
            </a:r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25232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E76379EA-8B16-3D44-B4FB-3D5A820D6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793" y="804651"/>
            <a:ext cx="7107158" cy="711312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5943A7E-EDB9-A84A-88CF-E1BF466B2D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794" y="2561968"/>
            <a:ext cx="5070618" cy="2955085"/>
          </a:xfrm>
          <a:prstGeom prst="rect">
            <a:avLst/>
          </a:prstGeom>
        </p:spPr>
        <p:txBody>
          <a:bodyPr/>
          <a:lstStyle>
            <a:lvl1pPr marL="457200" indent="-457200" algn="l">
              <a:buFont typeface="Arial" panose="020B0604020202020204" pitchFamily="34" charset="0"/>
              <a:buChar char="•"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tex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C867793-1601-DF44-8660-DF417B481E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D2C74-363A-DC42-AF2E-8E8249979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4C0B19E-869F-B141-9FC0-F101F278B268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545793" y="1538006"/>
            <a:ext cx="3937000" cy="56737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pic>
        <p:nvPicPr>
          <p:cNvPr id="21519" name="Picture 15">
            <a:extLst>
              <a:ext uri="{FF2B5EF4-FFF2-40B4-BE49-F238E27FC236}">
                <a16:creationId xmlns:a16="http://schemas.microsoft.com/office/drawing/2014/main" id="{13AC7C64-AE07-4429-A626-932038D41E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43310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D17D6C-5FC4-F944-869D-683CA7F74AD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1052" y="5181600"/>
            <a:ext cx="9930098" cy="6386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500">
                <a:solidFill>
                  <a:srgbClr val="F89AB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A27CBD6-7464-5C40-8E9F-76E8ED4D9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514" y="4430306"/>
            <a:ext cx="9938636" cy="751294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742113-BEAC-BA46-A20D-83BEC0AD88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26620C-653C-2847-A222-1FCAC6DEBB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7987701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742113-BEAC-BA46-A20D-83BEC0AD88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D17D6C-5FC4-F944-869D-683CA7F74AD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735" y="4521188"/>
            <a:ext cx="3970758" cy="63860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age subtitle</a:t>
            </a:r>
            <a:endParaRPr lang="ro-R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A27CBD6-7464-5C40-8E9F-76E8ED4D9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028" y="3450592"/>
            <a:ext cx="3974172" cy="751294"/>
          </a:xfrm>
          <a:prstGeom prst="rect">
            <a:avLst/>
          </a:prstGeom>
        </p:spPr>
        <p:txBody>
          <a:bodyPr vert="horz" anchor="t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445B3CA-A996-411A-AF0F-5006DF8390FD}"/>
              </a:ext>
            </a:extLst>
          </p:cNvPr>
          <p:cNvGrpSpPr/>
          <p:nvPr userDrawn="1"/>
        </p:nvGrpSpPr>
        <p:grpSpPr>
          <a:xfrm flipH="1">
            <a:off x="-61550" y="0"/>
            <a:ext cx="12471590" cy="7684497"/>
            <a:chOff x="-15511" y="0"/>
            <a:chExt cx="12471590" cy="7684497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B7208AE-8307-4C71-BB19-2E0C934428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62189" b="16724"/>
            <a:stretch/>
          </p:blipFill>
          <p:spPr>
            <a:xfrm>
              <a:off x="-15511" y="0"/>
              <a:ext cx="5557431" cy="6888613"/>
            </a:xfrm>
            <a:prstGeom prst="rect">
              <a:avLst/>
            </a:prstGeom>
          </p:spPr>
        </p:pic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7E6A10E-E20B-4107-BAD1-F1BFAE90682F}"/>
                </a:ext>
              </a:extLst>
            </p:cNvPr>
            <p:cNvSpPr/>
            <p:nvPr userDrawn="1"/>
          </p:nvSpPr>
          <p:spPr>
            <a:xfrm>
              <a:off x="4615689" y="0"/>
              <a:ext cx="7840390" cy="7684497"/>
            </a:xfrm>
            <a:custGeom>
              <a:avLst/>
              <a:gdLst>
                <a:gd name="connsiteX0" fmla="*/ 828396 w 7727410"/>
                <a:gd name="connsiteY0" fmla="*/ 0 h 7551954"/>
                <a:gd name="connsiteX1" fmla="*/ 1917673 w 7727410"/>
                <a:gd name="connsiteY1" fmla="*/ 0 h 7551954"/>
                <a:gd name="connsiteX2" fmla="*/ 1896603 w 7727410"/>
                <a:gd name="connsiteY2" fmla="*/ 109983 h 7551954"/>
                <a:gd name="connsiteX3" fmla="*/ 1161955 w 7727410"/>
                <a:gd name="connsiteY3" fmla="*/ 1556854 h 7551954"/>
                <a:gd name="connsiteX4" fmla="*/ 1107587 w 7727410"/>
                <a:gd name="connsiteY4" fmla="*/ 1809666 h 7551954"/>
                <a:gd name="connsiteX5" fmla="*/ 1736897 w 7727410"/>
                <a:gd name="connsiteY5" fmla="*/ 3863420 h 7551954"/>
                <a:gd name="connsiteX6" fmla="*/ 1923108 w 7727410"/>
                <a:gd name="connsiteY6" fmla="*/ 4042834 h 7551954"/>
                <a:gd name="connsiteX7" fmla="*/ 3932008 w 7727410"/>
                <a:gd name="connsiteY7" fmla="*/ 5573296 h 7551954"/>
                <a:gd name="connsiteX8" fmla="*/ 4222878 w 7727410"/>
                <a:gd name="connsiteY8" fmla="*/ 6242022 h 7551954"/>
                <a:gd name="connsiteX9" fmla="*/ 4551804 w 7727410"/>
                <a:gd name="connsiteY9" fmla="*/ 6410564 h 7551954"/>
                <a:gd name="connsiteX10" fmla="*/ 7727410 w 7727410"/>
                <a:gd name="connsiteY10" fmla="*/ 5436795 h 7551954"/>
                <a:gd name="connsiteX11" fmla="*/ 7727410 w 7727410"/>
                <a:gd name="connsiteY11" fmla="*/ 6548877 h 7551954"/>
                <a:gd name="connsiteX12" fmla="*/ 4610250 w 7727410"/>
                <a:gd name="connsiteY12" fmla="*/ 7504720 h 7551954"/>
                <a:gd name="connsiteX13" fmla="*/ 3282310 w 7727410"/>
                <a:gd name="connsiteY13" fmla="*/ 6800654 h 7551954"/>
                <a:gd name="connsiteX14" fmla="*/ 3025420 w 7727410"/>
                <a:gd name="connsiteY14" fmla="*/ 6130568 h 7551954"/>
                <a:gd name="connsiteX15" fmla="*/ 1561560 w 7727410"/>
                <a:gd name="connsiteY15" fmla="*/ 5048644 h 7551954"/>
                <a:gd name="connsiteX16" fmla="*/ 765068 w 7727410"/>
                <a:gd name="connsiteY16" fmla="*/ 4320110 h 7551954"/>
                <a:gd name="connsiteX17" fmla="*/ 47410 w 7727410"/>
                <a:gd name="connsiteY17" fmla="*/ 1979566 h 7551954"/>
                <a:gd name="connsiteX18" fmla="*/ 287989 w 7727410"/>
                <a:gd name="connsiteY18" fmla="*/ 941136 h 7551954"/>
                <a:gd name="connsiteX19" fmla="*/ 806731 w 7727410"/>
                <a:gd name="connsiteY19" fmla="*/ 75774 h 7551954"/>
                <a:gd name="connsiteX20" fmla="*/ 828396 w 7727410"/>
                <a:gd name="connsiteY20" fmla="*/ 0 h 755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727410" h="7551954">
                  <a:moveTo>
                    <a:pt x="828396" y="0"/>
                  </a:moveTo>
                  <a:lnTo>
                    <a:pt x="1917673" y="0"/>
                  </a:lnTo>
                  <a:lnTo>
                    <a:pt x="1896603" y="109983"/>
                  </a:lnTo>
                  <a:cubicBezTo>
                    <a:pt x="1776314" y="645849"/>
                    <a:pt x="1522823" y="1144336"/>
                    <a:pt x="1161955" y="1556854"/>
                  </a:cubicBezTo>
                  <a:cubicBezTo>
                    <a:pt x="1100791" y="1626174"/>
                    <a:pt x="1080403" y="1721318"/>
                    <a:pt x="1107587" y="1809666"/>
                  </a:cubicBezTo>
                  <a:lnTo>
                    <a:pt x="1736897" y="3863420"/>
                  </a:lnTo>
                  <a:cubicBezTo>
                    <a:pt x="1762722" y="3951768"/>
                    <a:pt x="1834760" y="4019728"/>
                    <a:pt x="1923108" y="4042834"/>
                  </a:cubicBezTo>
                  <a:cubicBezTo>
                    <a:pt x="2757657" y="4261666"/>
                    <a:pt x="3497064" y="4801268"/>
                    <a:pt x="3932008" y="5573296"/>
                  </a:cubicBezTo>
                  <a:cubicBezTo>
                    <a:pt x="4062491" y="5805718"/>
                    <a:pt x="4161714" y="6059888"/>
                    <a:pt x="4222878" y="6242022"/>
                  </a:cubicBezTo>
                  <a:cubicBezTo>
                    <a:pt x="4269091" y="6377942"/>
                    <a:pt x="4414525" y="6452698"/>
                    <a:pt x="4551804" y="6410564"/>
                  </a:cubicBezTo>
                  <a:lnTo>
                    <a:pt x="7727410" y="5436795"/>
                  </a:lnTo>
                  <a:lnTo>
                    <a:pt x="7727410" y="6548877"/>
                  </a:lnTo>
                  <a:lnTo>
                    <a:pt x="4610250" y="7504720"/>
                  </a:lnTo>
                  <a:cubicBezTo>
                    <a:pt x="4048899" y="7677338"/>
                    <a:pt x="3454929" y="7362004"/>
                    <a:pt x="3282310" y="6800654"/>
                  </a:cubicBezTo>
                  <a:cubicBezTo>
                    <a:pt x="3282310" y="6800654"/>
                    <a:pt x="3196680" y="6441826"/>
                    <a:pt x="3025420" y="6130568"/>
                  </a:cubicBezTo>
                  <a:cubicBezTo>
                    <a:pt x="2715523" y="5567858"/>
                    <a:pt x="2173201" y="5180486"/>
                    <a:pt x="1561560" y="5048644"/>
                  </a:cubicBezTo>
                  <a:cubicBezTo>
                    <a:pt x="1183702" y="4967092"/>
                    <a:pt x="877882" y="4689814"/>
                    <a:pt x="765068" y="4320110"/>
                  </a:cubicBezTo>
                  <a:lnTo>
                    <a:pt x="47410" y="1979566"/>
                  </a:lnTo>
                  <a:cubicBezTo>
                    <a:pt x="-64045" y="1615300"/>
                    <a:pt x="22944" y="1214334"/>
                    <a:pt x="287989" y="941136"/>
                  </a:cubicBezTo>
                  <a:cubicBezTo>
                    <a:pt x="525255" y="696140"/>
                    <a:pt x="702683" y="399111"/>
                    <a:pt x="806731" y="75774"/>
                  </a:cubicBezTo>
                  <a:lnTo>
                    <a:pt x="828396" y="0"/>
                  </a:lnTo>
                  <a:close/>
                </a:path>
              </a:pathLst>
            </a:custGeom>
            <a:gradFill>
              <a:gsLst>
                <a:gs pos="22095">
                  <a:schemeClr val="accent2">
                    <a:alpha val="48000"/>
                  </a:schemeClr>
                </a:gs>
                <a:gs pos="1000">
                  <a:schemeClr val="accent1">
                    <a:alpha val="45000"/>
                  </a:schemeClr>
                </a:gs>
                <a:gs pos="99115">
                  <a:schemeClr val="bg1">
                    <a:alpha val="0"/>
                  </a:schemeClr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26620C-653C-2847-A222-1FCAC6DEBB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524523F1-D220-46A3-8067-EC4DF9F425A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7266" y="6362700"/>
            <a:ext cx="1342590" cy="150961"/>
          </a:xfrm>
          <a:prstGeom prst="rect">
            <a:avLst/>
          </a:prstGeom>
        </p:spPr>
      </p:pic>
      <p:pic>
        <p:nvPicPr>
          <p:cNvPr id="9230" name="Picture 14">
            <a:extLst>
              <a:ext uri="{FF2B5EF4-FFF2-40B4-BE49-F238E27FC236}">
                <a16:creationId xmlns:a16="http://schemas.microsoft.com/office/drawing/2014/main" id="{5563E8CA-D520-4F15-A7C2-FFC1BDB1D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66529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DA5346-CA87-A342-AEFA-B0B132F55D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8296" y="1914939"/>
            <a:ext cx="9936448" cy="39876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/>
            </a:lvl1pPr>
            <a:lvl2pPr>
              <a:lnSpc>
                <a:spcPct val="100000"/>
              </a:lnSpc>
              <a:defRPr sz="2800"/>
            </a:lvl2pPr>
            <a:lvl3pPr>
              <a:lnSpc>
                <a:spcPct val="100000"/>
              </a:lnSpc>
              <a:defRPr sz="2800"/>
            </a:lvl3pPr>
            <a:lvl4pPr>
              <a:lnSpc>
                <a:spcPct val="100000"/>
              </a:lnSpc>
              <a:defRPr sz="2800"/>
            </a:lvl4pPr>
            <a:lvl5pPr>
              <a:lnSpc>
                <a:spcPct val="100000"/>
              </a:lnSpc>
              <a:defRPr sz="2800"/>
            </a:lvl5pPr>
          </a:lstStyle>
          <a:p>
            <a:pPr lvl="0"/>
            <a:r>
              <a:rPr lang="en-US"/>
              <a:t>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o-RO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4236918-2A81-0748-B950-789BA0D88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884" y="690440"/>
            <a:ext cx="9936448" cy="751294"/>
          </a:xfrm>
          <a:prstGeom prst="rect">
            <a:avLst/>
          </a:prstGeom>
        </p:spPr>
        <p:txBody>
          <a:bodyPr vert="horz" anchor="ctr"/>
          <a:lstStyle>
            <a:lvl1pPr>
              <a:lnSpc>
                <a:spcPct val="100000"/>
              </a:lnSpc>
              <a:defRPr sz="4400">
                <a:solidFill>
                  <a:srgbClr val="5F4776"/>
                </a:solidFill>
                <a:latin typeface="+mj-lt"/>
              </a:defRPr>
            </a:lvl1pPr>
          </a:lstStyle>
          <a:p>
            <a:r>
              <a:rPr lang="en-US"/>
              <a:t>Click to edit page title</a:t>
            </a:r>
            <a:endParaRPr lang="ro-R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C69B36-147E-A146-B44D-39F44768C1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545A2-C569-5C4D-8556-4771E90EDC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pic>
        <p:nvPicPr>
          <p:cNvPr id="22543" name="Picture 15">
            <a:extLst>
              <a:ext uri="{FF2B5EF4-FFF2-40B4-BE49-F238E27FC236}">
                <a16:creationId xmlns:a16="http://schemas.microsoft.com/office/drawing/2014/main" id="{B4CE3A63-7E6E-4507-B97F-E3B7D63875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79243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4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AFC8BB4-7909-4051-9696-3413694E6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3999781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79" imgH="478" progId="TCLayout.ActiveDocument.1">
                  <p:embed/>
                </p:oleObj>
              </mc:Choice>
              <mc:Fallback>
                <p:oleObj name="think-cell Slide" r:id="rId51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AFC8BB4-7909-4051-9696-3413694E6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2E57E2-C0F4-4743-B932-6D4286C454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44225" y="6247702"/>
            <a:ext cx="4095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10CF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4C012138-8E1B-0248-81B8-1431062B3210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24A94DFB-73FA-114B-B5BD-B4A7B9F53B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31753" y="6250408"/>
            <a:ext cx="3210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o-RO">
                <a:solidFill>
                  <a:srgbClr val="5F4776"/>
                </a:solidFill>
              </a:rPr>
              <a:t>PRESENTATION NAME </a:t>
            </a:r>
            <a:r>
              <a:rPr lang="ro-RO">
                <a:solidFill>
                  <a:srgbClr val="10CFC9"/>
                </a:solidFill>
              </a:rPr>
              <a:t>CHAPTER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8C634E6-DD81-4354-AECC-8A469118D861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657266" y="6362700"/>
            <a:ext cx="1342590" cy="150961"/>
          </a:xfrm>
          <a:prstGeom prst="rect">
            <a:avLst/>
          </a:prstGeom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D91235ED-E065-413F-983F-F2AF9149A4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0428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836" r:id="rId2"/>
    <p:sldLayoutId id="2147483826" r:id="rId3"/>
    <p:sldLayoutId id="2147483827" r:id="rId4"/>
    <p:sldLayoutId id="2147483829" r:id="rId5"/>
    <p:sldLayoutId id="2147483821" r:id="rId6"/>
    <p:sldLayoutId id="2147483752" r:id="rId7"/>
    <p:sldLayoutId id="2147483837" r:id="rId8"/>
    <p:sldLayoutId id="2147483780" r:id="rId9"/>
    <p:sldLayoutId id="2147483838" r:id="rId10"/>
    <p:sldLayoutId id="2147483839" r:id="rId11"/>
    <p:sldLayoutId id="2147483832" r:id="rId12"/>
    <p:sldLayoutId id="2147483833" r:id="rId13"/>
    <p:sldLayoutId id="2147483753" r:id="rId14"/>
    <p:sldLayoutId id="2147483834" r:id="rId15"/>
    <p:sldLayoutId id="2147483835" r:id="rId16"/>
    <p:sldLayoutId id="2147483754" r:id="rId17"/>
    <p:sldLayoutId id="2147483756" r:id="rId18"/>
    <p:sldLayoutId id="2147483819" r:id="rId19"/>
    <p:sldLayoutId id="2147483820" r:id="rId20"/>
    <p:sldLayoutId id="2147483830" r:id="rId21"/>
    <p:sldLayoutId id="2147483831" r:id="rId22"/>
    <p:sldLayoutId id="2147483852" r:id="rId23"/>
    <p:sldLayoutId id="2147483853" r:id="rId24"/>
    <p:sldLayoutId id="2147483854" r:id="rId25"/>
    <p:sldLayoutId id="2147483855" r:id="rId26"/>
    <p:sldLayoutId id="2147483856" r:id="rId27"/>
    <p:sldLayoutId id="2147483857" r:id="rId28"/>
    <p:sldLayoutId id="2147483858" r:id="rId29"/>
    <p:sldLayoutId id="2147483859" r:id="rId30"/>
    <p:sldLayoutId id="2147483892" r:id="rId31"/>
    <p:sldLayoutId id="2147483893" r:id="rId32"/>
    <p:sldLayoutId id="2147483894" r:id="rId33"/>
    <p:sldLayoutId id="2147483895" r:id="rId34"/>
    <p:sldLayoutId id="2147483896" r:id="rId35"/>
    <p:sldLayoutId id="2147483897" r:id="rId36"/>
    <p:sldLayoutId id="2147483898" r:id="rId37"/>
    <p:sldLayoutId id="2147483899" r:id="rId38"/>
    <p:sldLayoutId id="2147483972" r:id="rId39"/>
    <p:sldLayoutId id="2147483973" r:id="rId40"/>
    <p:sldLayoutId id="2147483974" r:id="rId41"/>
    <p:sldLayoutId id="2147483975" r:id="rId42"/>
    <p:sldLayoutId id="2147483976" r:id="rId43"/>
    <p:sldLayoutId id="2147483977" r:id="rId44"/>
    <p:sldLayoutId id="2147483978" r:id="rId45"/>
    <p:sldLayoutId id="2147483979" r:id="rId46"/>
    <p:sldLayoutId id="2147483980" r:id="rId4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o-R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2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hyperlink" Target="https://github.com/jorianwoltjer/bashrandomcracker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hyperlink" Target="https://github.com/fortbridge/BashRandomCracker/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hyperlink" Target="https://fortbridge.co.uk/research/multiple-vulnerabilities-in-concrete-cms-part1-rce/" TargetMode="External"/><Relationship Id="rId4" Type="http://schemas.openxmlformats.org/officeDocument/2006/relationships/hyperlink" Target="https://github.com/FORTBRIDGE-UK/vesta-poc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fortbridge.co.uk/research/multiple-vulnerabilities-in-concrete-cms-part1-rce/" TargetMode="External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.emf"/><Relationship Id="rId5" Type="http://schemas.openxmlformats.org/officeDocument/2006/relationships/hyperlink" Target="https://fortbridge.co.uk/research/add-spf-dmarc-dkim-mx-records-evilginx/" TargetMode="External"/><Relationship Id="rId4" Type="http://schemas.openxmlformats.org/officeDocument/2006/relationships/hyperlink" Target="https://fortbridge.co.uk/research/feeld-dating-app-nudes-data-publicly-available/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png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fortbridge.co.uk/research/multiple-vulnerabilities-in-cpanel-whm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hyperlink" Target="https://fortbridge.co.uk/research/compromising-plesk-via-its-rest-api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cve.mitre.org/cgi-bin/cvekey.cgi?keyword=vesta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779FB3E-4344-AD91-6661-4F9BADB83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B4327C0-1856-D46B-5396-ACCF0292B0D4}"/>
              </a:ext>
            </a:extLst>
          </p:cNvPr>
          <p:cNvSpPr txBox="1"/>
          <p:nvPr/>
        </p:nvSpPr>
        <p:spPr>
          <a:xfrm>
            <a:off x="5394604" y="3677198"/>
            <a:ext cx="654645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>
                <a:solidFill>
                  <a:schemeClr val="bg1"/>
                </a:solidFill>
              </a:rPr>
              <a:t>Exploiting Reduced Entropy in bash $RANDOM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A09A59-FC09-D484-0759-4A990AD5FE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7237" y="1128531"/>
            <a:ext cx="132386" cy="478420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5FC9A2C-385A-9D73-F25A-B9F4DB8BA8AB}"/>
              </a:ext>
            </a:extLst>
          </p:cNvPr>
          <p:cNvSpPr txBox="1"/>
          <p:nvPr/>
        </p:nvSpPr>
        <p:spPr>
          <a:xfrm>
            <a:off x="5393551" y="1204438"/>
            <a:ext cx="4523959" cy="7694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4400" b="1">
                <a:solidFill>
                  <a:schemeClr val="bg1"/>
                </a:solidFill>
                <a:latin typeface="Arial"/>
                <a:cs typeface="Arial"/>
              </a:rPr>
              <a:t>Adrian Tiron</a:t>
            </a:r>
            <a:endParaRPr lang="en-GB" sz="4400" b="1">
              <a:solidFill>
                <a:schemeClr val="bg1"/>
              </a:solidFill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379F15-D6DD-0F1F-5630-91C34301EDD0}"/>
              </a:ext>
            </a:extLst>
          </p:cNvPr>
          <p:cNvSpPr txBox="1"/>
          <p:nvPr/>
        </p:nvSpPr>
        <p:spPr>
          <a:xfrm>
            <a:off x="5391978" y="2501348"/>
            <a:ext cx="6453808" cy="7694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4400" b="1">
                <a:solidFill>
                  <a:schemeClr val="bg1"/>
                </a:solidFill>
                <a:latin typeface="Arial"/>
                <a:cs typeface="Arial"/>
              </a:rPr>
              <a:t>Vesta Admin Takeover</a:t>
            </a:r>
            <a:endParaRPr lang="en-GB" sz="44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3478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616027-E753-730C-E70B-F664D0B842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1CBF47F-C331-C48F-7C83-CBD38E80510D}"/>
              </a:ext>
            </a:extLst>
          </p:cNvPr>
          <p:cNvSpPr txBox="1"/>
          <p:nvPr/>
        </p:nvSpPr>
        <p:spPr>
          <a:xfrm>
            <a:off x="6720327" y="1528175"/>
            <a:ext cx="5179399" cy="284967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/>
          <a:p>
            <a:pPr marL="228600" indent="-228600" eaLnBrk="1" hangingPunct="1">
              <a:spcBef>
                <a:spcPts val="1000"/>
              </a:spcBef>
              <a:buFont typeface="Arial,Sans-Serif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  <a:cs typeface="Kanit Light"/>
              </a:rPr>
              <a:t>V-gen-</a:t>
            </a:r>
            <a:r>
              <a:rPr lang="en-US" sz="2400" dirty="0" err="1">
                <a:solidFill>
                  <a:schemeClr val="bg1"/>
                </a:solidFill>
                <a:latin typeface="+mn-lt"/>
                <a:cs typeface="Kanit Light"/>
              </a:rPr>
              <a:t>ssl</a:t>
            </a:r>
            <a:r>
              <a:rPr lang="en-US" sz="2400" dirty="0">
                <a:solidFill>
                  <a:schemeClr val="bg1"/>
                </a:solidFill>
                <a:latin typeface="+mn-lt"/>
                <a:cs typeface="Kanit Light"/>
              </a:rPr>
              <a:t>-cert, no Auth at all</a:t>
            </a:r>
          </a:p>
          <a:p>
            <a:pPr marL="228600" indent="-228600">
              <a:spcBef>
                <a:spcPts val="1000"/>
              </a:spcBef>
              <a:buFont typeface="Arial,Sans-Serif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  <a:cs typeface="Kanit Light"/>
              </a:rPr>
              <a:t>You can generate </a:t>
            </a:r>
            <a:r>
              <a:rPr lang="en-US" sz="2400" dirty="0" err="1">
                <a:solidFill>
                  <a:schemeClr val="bg1"/>
                </a:solidFill>
                <a:latin typeface="+mn-lt"/>
                <a:cs typeface="Kanit Light"/>
              </a:rPr>
              <a:t>ssl</a:t>
            </a:r>
            <a:r>
              <a:rPr lang="en-US" sz="2400" dirty="0">
                <a:solidFill>
                  <a:schemeClr val="bg1"/>
                </a:solidFill>
                <a:latin typeface="+mn-lt"/>
                <a:cs typeface="Kanit Light"/>
              </a:rPr>
              <a:t> certs at will</a:t>
            </a:r>
          </a:p>
          <a:p>
            <a:pPr marL="228600" indent="-228600">
              <a:spcBef>
                <a:spcPts val="1000"/>
              </a:spcBef>
              <a:buFont typeface="Arial,Sans-Serif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  <a:cs typeface="Kanit Light"/>
              </a:rPr>
              <a:t>You need an </a:t>
            </a:r>
            <a:r>
              <a:rPr lang="en-US" sz="2400" dirty="0" err="1">
                <a:solidFill>
                  <a:schemeClr val="bg1"/>
                </a:solidFill>
                <a:latin typeface="+mn-lt"/>
                <a:cs typeface="Kanit Light"/>
              </a:rPr>
              <a:t>escapeshellarg</a:t>
            </a:r>
            <a:r>
              <a:rPr lang="en-US" sz="2400" dirty="0">
                <a:solidFill>
                  <a:schemeClr val="bg1"/>
                </a:solidFill>
                <a:latin typeface="+mn-lt"/>
                <a:cs typeface="Kanit Light"/>
              </a:rPr>
              <a:t> 0day</a:t>
            </a:r>
          </a:p>
          <a:p>
            <a:pPr marL="228600" indent="-228600">
              <a:spcBef>
                <a:spcPts val="1000"/>
              </a:spcBef>
              <a:buFont typeface="Arial,Sans-Serif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  <a:cs typeface="Kanit Light"/>
              </a:rPr>
              <a:t>Tried to fuzz </a:t>
            </a:r>
            <a:r>
              <a:rPr lang="en-US" sz="2400" dirty="0" err="1">
                <a:solidFill>
                  <a:schemeClr val="bg1"/>
                </a:solidFill>
                <a:latin typeface="+mn-lt"/>
                <a:cs typeface="Kanit Light"/>
              </a:rPr>
              <a:t>escapeshellarg</a:t>
            </a:r>
            <a:r>
              <a:rPr lang="en-US" sz="2400" dirty="0">
                <a:solidFill>
                  <a:schemeClr val="bg1"/>
                </a:solidFill>
                <a:latin typeface="+mn-lt"/>
                <a:cs typeface="Kanit Light"/>
              </a:rPr>
              <a:t>, no luck </a:t>
            </a:r>
          </a:p>
          <a:p>
            <a:pPr marL="228600" indent="-228600">
              <a:spcBef>
                <a:spcPts val="1000"/>
              </a:spcBef>
              <a:buFont typeface="Arial,Sans-Serif" panose="020B0604020202020204" pitchFamily="34" charset="0"/>
              <a:buChar char="•"/>
            </a:pPr>
            <a:endParaRPr lang="en-US" sz="2400" dirty="0">
              <a:solidFill>
                <a:srgbClr val="868888"/>
              </a:solidFill>
              <a:latin typeface="+mn-lt"/>
              <a:cs typeface="Kanit Light"/>
            </a:endParaRPr>
          </a:p>
          <a:p>
            <a:pPr marL="228600" indent="-2286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1"/>
              </a:solidFill>
              <a:latin typeface="+mn-lt"/>
              <a:cs typeface="Kanit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F3DE77-83C9-AFA1-8C2D-4A20CE2E7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074" y="237099"/>
            <a:ext cx="10668878" cy="780230"/>
          </a:xfrm>
        </p:spPr>
        <p:txBody>
          <a:bodyPr vert="horz" lIns="91440" tIns="45720" rIns="91440" bIns="4572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VESTA CP – Dodgy code </a:t>
            </a:r>
            <a:r>
              <a:rPr lang="en-US" dirty="0" err="1">
                <a:solidFill>
                  <a:schemeClr val="bg1"/>
                </a:solidFill>
              </a:rPr>
              <a:t>patern</a:t>
            </a:r>
            <a:r>
              <a:rPr lang="en-US" dirty="0">
                <a:solidFill>
                  <a:schemeClr val="bg1"/>
                </a:solidFill>
              </a:rPr>
              <a:t> #2</a:t>
            </a:r>
            <a:endParaRPr lang="ro-RO" dirty="0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65C1AD6A-9343-160B-D25B-A5E8656BF7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3B74681-D33A-DCCB-573B-5A41B8655A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549798" y="1013864"/>
            <a:ext cx="4109013" cy="71443"/>
          </a:xfrm>
          <a:prstGeom prst="rect">
            <a:avLst/>
          </a:prstGeom>
        </p:spPr>
      </p:pic>
      <p:pic>
        <p:nvPicPr>
          <p:cNvPr id="5" name="Picture 4" descr="A screen shot of a computer program">
            <a:extLst>
              <a:ext uri="{FF2B5EF4-FFF2-40B4-BE49-F238E27FC236}">
                <a16:creationId xmlns:a16="http://schemas.microsoft.com/office/drawing/2014/main" id="{32C29A27-3976-217A-B5DC-46C671FC8E5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367" r="4" b="4"/>
          <a:stretch/>
        </p:blipFill>
        <p:spPr>
          <a:xfrm>
            <a:off x="461811" y="1527993"/>
            <a:ext cx="6136181" cy="47927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36604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5870DBF-C0FC-652D-37F5-6CEE77E7F570}"/>
              </a:ext>
            </a:extLst>
          </p:cNvPr>
          <p:cNvSpPr txBox="1"/>
          <p:nvPr/>
        </p:nvSpPr>
        <p:spPr>
          <a:xfrm>
            <a:off x="547502" y="1914939"/>
            <a:ext cx="5103998" cy="3987644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kern="1200">
                <a:solidFill>
                  <a:schemeClr val="bg1"/>
                </a:solidFill>
              </a:rPr>
              <a:t>Standard password reset email</a:t>
            </a: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</a:rPr>
              <a:t>Un-auth-ed attack surface (&lt;3)</a:t>
            </a: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kern="1200">
                <a:solidFill>
                  <a:schemeClr val="bg1"/>
                </a:solidFill>
              </a:rPr>
              <a:t>How’s the code generated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7685097-6AB8-BE2B-E2A0-6FDDD27D2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0086" y="1972320"/>
            <a:ext cx="5105401" cy="1046607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884" y="92415"/>
            <a:ext cx="10707461" cy="895978"/>
          </a:xfrm>
        </p:spPr>
        <p:txBody>
          <a:bodyPr vert="horz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chemeClr val="bg1"/>
                </a:solidFill>
              </a:rPr>
              <a:t>Vesta CP – The Password Reset process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55D059E-83E8-816C-122D-E942C4B99F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771646" y="983879"/>
            <a:ext cx="4109013" cy="71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4125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1E868C-FE2C-2928-89FD-D9D019C43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A7125-D47F-FBEE-E2A9-994D1BFE2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404" y="13504"/>
            <a:ext cx="10052689" cy="866436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PHP </a:t>
            </a:r>
            <a:r>
              <a:rPr lang="en-US" err="1">
                <a:solidFill>
                  <a:schemeClr val="bg1"/>
                </a:solidFill>
              </a:rPr>
              <a:t>api</a:t>
            </a:r>
            <a:r>
              <a:rPr lang="en-US">
                <a:solidFill>
                  <a:schemeClr val="bg1"/>
                </a:solidFill>
              </a:rPr>
              <a:t>/v1/reset/</a:t>
            </a:r>
            <a:r>
              <a:rPr lang="en-US" err="1">
                <a:solidFill>
                  <a:schemeClr val="bg1"/>
                </a:solidFill>
              </a:rPr>
              <a:t>index.php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415D4FFA-EE06-414E-F184-15FFFBC6E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3D3A48C-30FB-EE1D-F9F1-F8062DF74007}"/>
              </a:ext>
            </a:extLst>
          </p:cNvPr>
          <p:cNvSpPr txBox="1"/>
          <p:nvPr/>
        </p:nvSpPr>
        <p:spPr>
          <a:xfrm>
            <a:off x="483468" y="1672405"/>
            <a:ext cx="84862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0923C5-F770-C747-CBC9-B91001BA48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73" y="1352573"/>
            <a:ext cx="8365121" cy="485383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867984E-FEB1-D01F-5BE7-D3FC92A058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578735" y="870859"/>
            <a:ext cx="4109013" cy="88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1116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8020066" cy="561293"/>
          </a:xfrm>
        </p:spPr>
        <p:txBody>
          <a:bodyPr vert="horz" lIns="91440" tIns="45720" rIns="91440" bIns="45720" anchor="b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Vesta CP – What is RKEY ? 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E18D6EE-6FC2-0C17-B7A5-EA7C9E4FB7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469" y="2581953"/>
            <a:ext cx="6643777" cy="3331592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9D4D7504-7C04-5308-E998-A020BAED4A0D}"/>
              </a:ext>
            </a:extLst>
          </p:cNvPr>
          <p:cNvSpPr txBox="1">
            <a:spLocks/>
          </p:cNvSpPr>
          <p:nvPr/>
        </p:nvSpPr>
        <p:spPr>
          <a:xfrm>
            <a:off x="398321" y="1083501"/>
            <a:ext cx="9497241" cy="1325746"/>
          </a:xfrm>
          <a:prstGeom prst="rect">
            <a:avLst/>
          </a:prstGeom>
        </p:spPr>
        <p:txBody>
          <a:bodyPr vert="horz" lIns="91440" tIns="45720" rIns="91440" bIns="4572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e-generated (install time or  for every successful password reset)</a:t>
            </a:r>
            <a:endParaRPr lang="en-US" sz="2400">
              <a:solidFill>
                <a:schemeClr val="bg1"/>
              </a:solidFill>
              <a:latin typeface="+mn-lt"/>
              <a:ea typeface="+mn-ea"/>
              <a:cs typeface="Kanit Light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you have to know it to change it</a:t>
            </a:r>
            <a:endParaRPr lang="en-US" sz="2400">
              <a:solidFill>
                <a:schemeClr val="bg1"/>
              </a:solidFill>
              <a:latin typeface="+mn-lt"/>
              <a:ea typeface="+mn-ea"/>
              <a:cs typeface="Kanit Light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tored for every user in </a:t>
            </a:r>
            <a:r>
              <a:rPr lang="en-US" sz="24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user.conf</a:t>
            </a: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endParaRPr lang="en-US" sz="2400">
              <a:solidFill>
                <a:schemeClr val="bg1"/>
              </a:solidFill>
              <a:latin typeface="+mn-lt"/>
              <a:ea typeface="+mn-ea"/>
              <a:cs typeface="Kanit Ligh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92BC67-581D-43F9-B6D2-C60B4A375A15}"/>
              </a:ext>
            </a:extLst>
          </p:cNvPr>
          <p:cNvSpPr txBox="1"/>
          <p:nvPr/>
        </p:nvSpPr>
        <p:spPr>
          <a:xfrm>
            <a:off x="2228850" y="5667440"/>
            <a:ext cx="2495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Kanit Thin" pitchFamily="2" charset="-34"/>
                <a:cs typeface="Kanit Thin" pitchFamily="2" charset="-34"/>
              </a:rPr>
              <a:t>RKEY is the password reset tok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3413985-017F-941D-9333-61AB7CFFDB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614801" y="816970"/>
            <a:ext cx="4109013" cy="88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13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3409FBE-D60A-83FB-878A-A0DAB2831BAF}"/>
              </a:ext>
            </a:extLst>
          </p:cNvPr>
          <p:cNvSpPr txBox="1"/>
          <p:nvPr/>
        </p:nvSpPr>
        <p:spPr>
          <a:xfrm>
            <a:off x="553752" y="1914939"/>
            <a:ext cx="4695124" cy="452991"/>
          </a:xfrm>
          <a:prstGeom prst="rect">
            <a:avLst/>
          </a:prstGeom>
        </p:spPr>
        <p:txBody>
          <a:bodyPr rtlCol="0" anchor="b">
            <a:normAutofit lnSpcReduction="10000"/>
          </a:bodyPr>
          <a:lstStyle/>
          <a:p>
            <a:pPr eaLnBrk="1" hangingPunct="1">
              <a:lnSpc>
                <a:spcPct val="90000"/>
              </a:lnSpc>
              <a:spcBef>
                <a:spcPts val="1000"/>
              </a:spcBef>
            </a:pPr>
            <a:endParaRPr lang="en-US" sz="2600" b="0" kern="1200">
              <a:solidFill>
                <a:srgbClr val="F89ABA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0182E95-C423-45B5-997E-8C3007E1BFE7}"/>
              </a:ext>
            </a:extLst>
          </p:cNvPr>
          <p:cNvSpPr txBox="1">
            <a:spLocks/>
          </p:cNvSpPr>
          <p:nvPr/>
        </p:nvSpPr>
        <p:spPr>
          <a:xfrm>
            <a:off x="553751" y="1640910"/>
            <a:ext cx="6409246" cy="4261673"/>
          </a:xfrm>
          <a:prstGeom prst="rect">
            <a:avLst/>
          </a:prstGeom>
        </p:spPr>
        <p:txBody>
          <a:bodyPr vert="horz"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indent="-228600" fontAlgn="auto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HP API calls this bash script</a:t>
            </a:r>
          </a:p>
          <a:p>
            <a:pPr marL="228600" indent="-228600" fontAlgn="auto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t changes the user password AND</a:t>
            </a:r>
            <a:endParaRPr lang="en-US" sz="2400">
              <a:solidFill>
                <a:schemeClr val="bg1"/>
              </a:solidFill>
              <a:latin typeface="+mn-lt"/>
              <a:ea typeface="+mn-ea"/>
              <a:cs typeface="Kanit Light"/>
            </a:endParaRPr>
          </a:p>
          <a:p>
            <a:pPr marL="228600" indent="-228600" fontAlgn="auto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t generates RKEY for the NEXT pass reset</a:t>
            </a:r>
            <a:endParaRPr lang="en-US" sz="2400">
              <a:solidFill>
                <a:schemeClr val="bg1"/>
              </a:solidFill>
              <a:latin typeface="+mn-lt"/>
              <a:ea typeface="+mn-ea"/>
              <a:cs typeface="Kanit Light"/>
            </a:endParaRPr>
          </a:p>
          <a:p>
            <a:pPr marL="228600" indent="-228600" fontAlgn="auto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429" name="Text Placeholder 3">
            <a:extLst>
              <a:ext uri="{FF2B5EF4-FFF2-40B4-BE49-F238E27FC236}">
                <a16:creationId xmlns:a16="http://schemas.microsoft.com/office/drawing/2014/main" id="{42B2FCF0-EE5E-7FB8-F291-5D4C634C45C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7164888" y="1595525"/>
            <a:ext cx="4589744" cy="452991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v</a:t>
            </a:r>
            <a:r>
              <a:rPr lang="en-US" sz="2800" b="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-change-user-password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36B98F7-4354-7065-AFFE-2C9EC2F6EE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839" y="2111974"/>
            <a:ext cx="4791635" cy="3549789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884" y="237099"/>
            <a:ext cx="10591714" cy="847749"/>
          </a:xfrm>
        </p:spPr>
        <p:txBody>
          <a:bodyPr vert="horz" lIns="91440" tIns="45720" rIns="91440" bIns="4572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chemeClr val="bg1"/>
                </a:solidFill>
                <a:latin typeface="+mj-lt"/>
              </a:rPr>
              <a:t>Vesta CP  v-change-user-password  </a:t>
            </a:r>
            <a:endParaRPr lang="ro-RO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C4CB1FE-FE26-62FA-D7D2-8A0BDADC80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640907" y="1080125"/>
            <a:ext cx="4109013" cy="88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1125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9823648" cy="718279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Vesta CP –  </a:t>
            </a:r>
            <a:r>
              <a:rPr lang="en-US" err="1">
                <a:solidFill>
                  <a:schemeClr val="bg1"/>
                </a:solidFill>
              </a:rPr>
              <a:t>generate_password</a:t>
            </a:r>
            <a:r>
              <a:rPr lang="en-US">
                <a:solidFill>
                  <a:schemeClr val="bg1"/>
                </a:solidFill>
              </a:rPr>
              <a:t> 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3E7F040-CB4A-3718-0E8F-D70BD9B0A4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468" y="2834991"/>
            <a:ext cx="9936491" cy="3265183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089765"/>
            <a:ext cx="8058648" cy="1628384"/>
          </a:xfrm>
          <a:prstGeom prst="rect">
            <a:avLst/>
          </a:prstGeom>
        </p:spPr>
        <p:txBody>
          <a:bodyPr vert="horz" lIns="91440" tIns="45720" rIns="91440" bIns="4572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uses Bash $RANDOM env variable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not crypto secure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between 0 and 32767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modulo operator to get an index within the string limits</a:t>
            </a:r>
            <a:endParaRPr lang="ro-RO" sz="2400" b="0">
              <a:solidFill>
                <a:schemeClr val="bg1"/>
              </a:solidFill>
              <a:latin typeface="+mn-lt"/>
              <a:cs typeface="Kanit Thin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BB5FD7-AB08-0617-BF16-ECAEFCAFC9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599494" y="964169"/>
            <a:ext cx="4109013" cy="63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2446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10460756" cy="857267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Vesta CP – attacking $RANDOM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85452"/>
            <a:ext cx="9879534" cy="453737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1800" b="0">
                <a:solidFill>
                  <a:schemeClr val="bg1"/>
                </a:solidFill>
                <a:latin typeface="+mn-lt"/>
                <a:cs typeface="Kanit Thin" pitchFamily="2" charset="-34"/>
              </a:rPr>
              <a:t>$ </a:t>
            </a:r>
            <a:r>
              <a:rPr lang="en-US" sz="1800" b="0" err="1">
                <a:solidFill>
                  <a:schemeClr val="bg1"/>
                </a:solidFill>
                <a:latin typeface="+mn-lt"/>
                <a:cs typeface="Kanit Thin" pitchFamily="2" charset="-34"/>
              </a:rPr>
              <a:t>bashrand</a:t>
            </a:r>
            <a:r>
              <a:rPr lang="en-US" sz="1800" b="0">
                <a:solidFill>
                  <a:schemeClr val="bg1"/>
                </a:solidFill>
                <a:latin typeface="+mn-lt"/>
                <a:cs typeface="Kanit Thin" pitchFamily="2" charset="-34"/>
              </a:rPr>
              <a:t> crack -n 3 $RANDOM $RANDOM $RANDOM</a:t>
            </a:r>
          </a:p>
          <a:p>
            <a:pPr fontAlgn="auto">
              <a:spcAft>
                <a:spcPts val="0"/>
              </a:spcAft>
            </a:pPr>
            <a:endParaRPr lang="en-US" sz="18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fontAlgn="auto">
              <a:spcAft>
                <a:spcPts val="0"/>
              </a:spcAft>
            </a:pPr>
            <a:r>
              <a:rPr lang="en-US" sz="1800" b="0">
                <a:solidFill>
                  <a:schemeClr val="bg1"/>
                </a:solidFill>
                <a:latin typeface="+mn-lt"/>
                <a:cs typeface="Kanit Thin" pitchFamily="2" charset="-34"/>
              </a:rPr>
              <a:t>Seed: 2137070299 +3 (old)             # Seed found</a:t>
            </a:r>
          </a:p>
          <a:p>
            <a:pPr fontAlgn="auto">
              <a:spcAft>
                <a:spcPts val="0"/>
              </a:spcAft>
            </a:pPr>
            <a:r>
              <a:rPr lang="en-US" sz="1800" b="0">
                <a:solidFill>
                  <a:schemeClr val="bg1"/>
                </a:solidFill>
                <a:latin typeface="+mn-lt"/>
                <a:cs typeface="Kanit Thin" pitchFamily="2" charset="-34"/>
              </a:rPr>
              <a:t>  Next 3 values: [22404, 16453, 2365] # predicting the next random numbers</a:t>
            </a:r>
          </a:p>
          <a:p>
            <a:pPr fontAlgn="auto">
              <a:spcAft>
                <a:spcPts val="0"/>
              </a:spcAft>
            </a:pPr>
            <a:endParaRPr lang="en-US" sz="18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fontAlgn="auto">
              <a:spcAft>
                <a:spcPts val="0"/>
              </a:spcAft>
            </a:pPr>
            <a:r>
              <a:rPr lang="en-US" sz="1800" b="0">
                <a:solidFill>
                  <a:schemeClr val="bg1"/>
                </a:solidFill>
                <a:latin typeface="+mn-lt"/>
                <a:cs typeface="Kanit Thin" pitchFamily="2" charset="-34"/>
              </a:rPr>
              <a:t>$ echo $RANDOM $RANDOM $RANDOM</a:t>
            </a:r>
          </a:p>
          <a:p>
            <a:pPr fontAlgn="auto">
              <a:spcAft>
                <a:spcPts val="0"/>
              </a:spcAft>
            </a:pPr>
            <a:r>
              <a:rPr lang="en-US" sz="1800" b="0">
                <a:solidFill>
                  <a:schemeClr val="bg1"/>
                </a:solidFill>
                <a:latin typeface="+mn-lt"/>
                <a:cs typeface="Kanit Thin" pitchFamily="2" charset="-34"/>
              </a:rPr>
              <a:t>22404 16453 2365 # generating next 3 $RANDOM and they match with the 3 above</a:t>
            </a:r>
          </a:p>
          <a:p>
            <a:pPr fontAlgn="auto">
              <a:spcAft>
                <a:spcPts val="0"/>
              </a:spcAft>
            </a:pPr>
            <a:endParaRPr lang="en-US" sz="18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fontAlgn="auto">
              <a:spcAft>
                <a:spcPts val="0"/>
              </a:spcAft>
            </a:pPr>
            <a:r>
              <a:rPr lang="en-US" sz="1800" b="0">
                <a:solidFill>
                  <a:schemeClr val="bg1"/>
                </a:solidFill>
                <a:latin typeface="+mn-lt"/>
                <a:cs typeface="Kanit Thin" pitchFamily="2" charset="-34"/>
              </a:rPr>
              <a:t>#seed it and generate the next random numbers </a:t>
            </a:r>
            <a:r>
              <a:rPr lang="en-US" sz="1800" b="0" err="1">
                <a:solidFill>
                  <a:schemeClr val="bg1"/>
                </a:solidFill>
                <a:latin typeface="+mn-lt"/>
                <a:cs typeface="Kanit Thin" pitchFamily="2" charset="-34"/>
              </a:rPr>
              <a:t>everytime</a:t>
            </a:r>
            <a:endParaRPr lang="en-US" sz="18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fontAlgn="auto">
              <a:spcAft>
                <a:spcPts val="0"/>
              </a:spcAft>
            </a:pPr>
            <a:endParaRPr lang="en-US" sz="18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fontAlgn="auto">
              <a:spcAft>
                <a:spcPts val="0"/>
              </a:spcAft>
            </a:pPr>
            <a:r>
              <a:rPr lang="ro-RO" sz="1800" b="0">
                <a:solidFill>
                  <a:schemeClr val="bg1"/>
                </a:solidFill>
                <a:latin typeface="+mn-lt"/>
                <a:cs typeface="Kanit Thin" pitchFamily="2" charset="-34"/>
              </a:rPr>
              <a:t>$ RANDOM=1337; echo $RANDOM $RANDOM $RANDOM</a:t>
            </a:r>
          </a:p>
          <a:p>
            <a:pPr fontAlgn="auto">
              <a:spcAft>
                <a:spcPts val="0"/>
              </a:spcAft>
            </a:pPr>
            <a:r>
              <a:rPr lang="ro-RO" sz="1800" b="0">
                <a:solidFill>
                  <a:schemeClr val="bg1"/>
                </a:solidFill>
                <a:latin typeface="+mn-lt"/>
                <a:cs typeface="Kanit Thin" pitchFamily="2" charset="-34"/>
              </a:rPr>
              <a:t>24879 21848 15683</a:t>
            </a:r>
          </a:p>
          <a:p>
            <a:pPr fontAlgn="auto">
              <a:spcAft>
                <a:spcPts val="0"/>
              </a:spcAft>
            </a:pPr>
            <a:r>
              <a:rPr lang="ro-RO" sz="1800" b="0">
                <a:solidFill>
                  <a:schemeClr val="bg1"/>
                </a:solidFill>
                <a:latin typeface="+mn-lt"/>
                <a:cs typeface="Kanit Thin" pitchFamily="2" charset="-34"/>
              </a:rPr>
              <a:t>$ RANDOM=1337; echo $RANDOM $RANDOM $RANDOM</a:t>
            </a:r>
          </a:p>
          <a:p>
            <a:pPr fontAlgn="auto">
              <a:spcAft>
                <a:spcPts val="0"/>
              </a:spcAft>
            </a:pPr>
            <a:r>
              <a:rPr lang="ro-RO" sz="1800" b="0">
                <a:solidFill>
                  <a:schemeClr val="bg1"/>
                </a:solidFill>
                <a:latin typeface="+mn-lt"/>
                <a:cs typeface="Kanit Thin" pitchFamily="2" charset="-34"/>
              </a:rPr>
              <a:t>24879 21848 15683</a:t>
            </a:r>
            <a:endParaRPr lang="en-US" sz="18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fontAlgn="auto">
              <a:spcAft>
                <a:spcPts val="0"/>
              </a:spcAft>
            </a:pPr>
            <a:endParaRPr lang="en-US" sz="1800" b="0">
              <a:solidFill>
                <a:schemeClr val="bg1"/>
              </a:solidFill>
              <a:latin typeface="+mn-lt"/>
            </a:endParaRPr>
          </a:p>
          <a:p>
            <a:pPr fontAlgn="auto">
              <a:spcAft>
                <a:spcPts val="0"/>
              </a:spcAft>
            </a:pPr>
            <a:r>
              <a:rPr lang="ro-RO" sz="1800" b="0">
                <a:solidFill>
                  <a:schemeClr val="bg1"/>
                </a:solidFill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jorianwoltjer/bashrandomcracker</a:t>
            </a:r>
            <a:endParaRPr lang="ro-RO" sz="1800" b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67CC76-E5BC-1417-9402-1D465E2FA3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549798" y="1187799"/>
            <a:ext cx="4109013" cy="88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5016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8" y="254643"/>
            <a:ext cx="9487149" cy="766228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Vesta CP – $RANDOM algorithm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85452"/>
            <a:ext cx="8058648" cy="390094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CE0BEC-62AC-1267-B879-1A3EE54CBC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808" y="1157232"/>
            <a:ext cx="4152449" cy="4906475"/>
          </a:xfrm>
          <a:prstGeom prst="rect">
            <a:avLst/>
          </a:prstGeom>
        </p:spPr>
      </p:pic>
      <p:pic>
        <p:nvPicPr>
          <p:cNvPr id="11" name="Picture 10" descr="generate seed function">
            <a:extLst>
              <a:ext uri="{FF2B5EF4-FFF2-40B4-BE49-F238E27FC236}">
                <a16:creationId xmlns:a16="http://schemas.microsoft.com/office/drawing/2014/main" id="{D4F6531B-5408-1C82-A044-7E65F96B994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73609" y="1157232"/>
            <a:ext cx="4778869" cy="28098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A4C730E-C0CD-0694-9812-11C31C4A9B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665545" y="920450"/>
            <a:ext cx="4150426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3617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9992095" cy="663909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Vesta CP – dive into bash internals 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85452"/>
            <a:ext cx="8058648" cy="390094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C52CF1D-A71A-2194-5FC0-57C88846A8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9091" y="1586777"/>
            <a:ext cx="8062293" cy="390094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5741137-A362-1454-C58E-F0FFE602CFAA}"/>
              </a:ext>
            </a:extLst>
          </p:cNvPr>
          <p:cNvSpPr txBox="1">
            <a:spLocks/>
          </p:cNvSpPr>
          <p:nvPr/>
        </p:nvSpPr>
        <p:spPr>
          <a:xfrm>
            <a:off x="398322" y="1526830"/>
            <a:ext cx="3657631" cy="1903030"/>
          </a:xfrm>
          <a:prstGeom prst="rect">
            <a:avLst/>
          </a:prstGeom>
        </p:spPr>
        <p:txBody>
          <a:bodyPr vert="horz" lIns="91440" tIns="45720" rIns="91440" bIns="4572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</a:rPr>
              <a:t>Seeding done with</a:t>
            </a:r>
          </a:p>
          <a:p>
            <a:pPr>
              <a:spcAft>
                <a:spcPts val="0"/>
              </a:spcAft>
            </a:pPr>
            <a:endParaRPr lang="en-US" sz="2400" b="0" dirty="0">
              <a:solidFill>
                <a:schemeClr val="bg1"/>
              </a:solidFill>
              <a:latin typeface="Kanit Light"/>
              <a:cs typeface="Kanit Light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</a:rPr>
              <a:t>timestamp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</a:rPr>
              <a:t>microseconds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dirty="0" err="1">
                <a:solidFill>
                  <a:schemeClr val="bg1"/>
                </a:solidFill>
                <a:latin typeface="Kanit Light"/>
                <a:cs typeface="Kanit Light"/>
              </a:rPr>
              <a:t>getpid</a:t>
            </a: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</a:rPr>
              <a:t>()</a:t>
            </a:r>
            <a:endParaRPr lang="ro-RO" sz="2400" b="0" dirty="0">
              <a:solidFill>
                <a:schemeClr val="bg1"/>
              </a:solidFill>
              <a:latin typeface="Kanit Light"/>
              <a:cs typeface="Kanit Ligh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8D209B-B6D3-9A63-4C32-1FDECED68B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483277" y="1004977"/>
            <a:ext cx="4109013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6086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8058648" cy="667072"/>
          </a:xfrm>
        </p:spPr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Vesta CP – Initial ideas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85452"/>
            <a:ext cx="8058648" cy="390094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5741137-A362-1454-C58E-F0FFE602CFAA}"/>
              </a:ext>
            </a:extLst>
          </p:cNvPr>
          <p:cNvSpPr txBox="1">
            <a:spLocks/>
          </p:cNvSpPr>
          <p:nvPr/>
        </p:nvSpPr>
        <p:spPr>
          <a:xfrm>
            <a:off x="483469" y="1150273"/>
            <a:ext cx="10230013" cy="4771305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Bruteforce</a:t>
            </a: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 all values (4.3 Billion) – terrible idea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getpid</a:t>
            </a: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() and microseconds are easier to brute-force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Most important is the timestamp – Info Leak?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found endpoints that exposed useful timestamp but require Auth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A useful timestamp is the timestamp of the last password reset 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Know any other tricks? Please share :D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o-RO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05EC5E-2E84-9046-CB2B-D9B68A0471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578735" y="975597"/>
            <a:ext cx="4109013" cy="7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9671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14B0FD6-752E-1F75-2EF7-FD54043F7122}"/>
              </a:ext>
            </a:extLst>
          </p:cNvPr>
          <p:cNvSpPr txBox="1">
            <a:spLocks/>
          </p:cNvSpPr>
          <p:nvPr/>
        </p:nvSpPr>
        <p:spPr>
          <a:xfrm>
            <a:off x="548296" y="1914939"/>
            <a:ext cx="9936448" cy="3987644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indent="-228600" fontAlgn="auto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drian Tiron, Founder &amp; Principal Consultant at FORTBRIDGE</a:t>
            </a:r>
          </a:p>
          <a:p>
            <a:pPr marL="228600" indent="-228600" fontAlgn="auto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80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28600" indent="-228600" fontAlgn="auto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ccreditations: OSCP/OSEP/CRTO/CRTL/AWS/Azure </a:t>
            </a:r>
          </a:p>
          <a:p>
            <a:pPr marL="228600" indent="-228600" fontAlgn="auto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80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28600" indent="-228600" fontAlgn="auto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ast History: Contractor, Jack of all trades</a:t>
            </a:r>
          </a:p>
          <a:p>
            <a:pPr marL="228600" indent="-228600" fontAlgn="auto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80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28600" indent="-228600" fontAlgn="auto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8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7C287C-03AE-A24B-BAA1-017FBD959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884" y="383984"/>
            <a:ext cx="9936448" cy="759577"/>
          </a:xfrm>
        </p:spPr>
        <p:txBody>
          <a:bodyPr vert="horz" lIns="91440" tIns="45720" rIns="91440" bIns="4572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chemeClr val="bg1"/>
                </a:solidFill>
              </a:rPr>
              <a:t>whoami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41995" name="Picture 11">
            <a:extLst>
              <a:ext uri="{FF2B5EF4-FFF2-40B4-BE49-F238E27FC236}">
                <a16:creationId xmlns:a16="http://schemas.microsoft.com/office/drawing/2014/main" id="{766CE9CD-858E-4A81-8E8D-95F1A35BA6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9B24D42-1025-3C3A-3F6C-2B1C72360C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617317" y="1149217"/>
            <a:ext cx="4109013" cy="71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22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9948006" cy="795288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Vesta CP – PHP internals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20096"/>
            <a:ext cx="8058648" cy="98087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BAA2A32-FF1C-5EFE-3D68-102D4B282B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7472" y="1479102"/>
            <a:ext cx="6417037" cy="4373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08F7716-7C85-BE8D-67DA-A2DE61079B35}"/>
              </a:ext>
            </a:extLst>
          </p:cNvPr>
          <p:cNvSpPr txBox="1">
            <a:spLocks/>
          </p:cNvSpPr>
          <p:nvPr/>
        </p:nvSpPr>
        <p:spPr>
          <a:xfrm>
            <a:off x="398323" y="1479103"/>
            <a:ext cx="4931502" cy="183403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out of ideas, reviewing PHP core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LCG function uses s1 and s2 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what’s with the left </a:t>
            </a:r>
            <a:r>
              <a:rPr lang="en-US" sz="24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bitshift</a:t>
            </a: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?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tv.tv_usec</a:t>
            </a: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 needs 20 bits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o-RO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F70E35-EB68-18E6-4B38-B8FCC113E9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483277" y="1110081"/>
            <a:ext cx="4109013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9178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11542357" cy="711431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Vesta CP – PHP seeding vs Bash seeding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20096"/>
            <a:ext cx="8058648" cy="98087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08F7716-7C85-BE8D-67DA-A2DE61079B35}"/>
              </a:ext>
            </a:extLst>
          </p:cNvPr>
          <p:cNvSpPr txBox="1">
            <a:spLocks/>
          </p:cNvSpPr>
          <p:nvPr/>
        </p:nvSpPr>
        <p:spPr>
          <a:xfrm>
            <a:off x="398322" y="1373481"/>
            <a:ext cx="4029324" cy="1592769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</a:endParaRPr>
          </a:p>
          <a:p>
            <a:pPr fontAlgn="auto">
              <a:spcAft>
                <a:spcPts val="0"/>
              </a:spcAft>
            </a:pPr>
            <a:endParaRPr lang="en-US" sz="2400" b="0">
              <a:solidFill>
                <a:schemeClr val="bg1"/>
              </a:solidFill>
              <a:latin typeface="+mn-lt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  <a:cs typeface="Kanit Thin" pitchFamily="2" charset="-34"/>
              </a:rPr>
              <a:t>no bit shifting in bash !?!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  <a:cs typeface="Kanit Thin" pitchFamily="2" charset="-34"/>
              </a:rPr>
              <a:t>we’re XOR-</a:t>
            </a:r>
            <a:r>
              <a:rPr lang="en-US" sz="2400" b="0" err="1">
                <a:solidFill>
                  <a:schemeClr val="bg1"/>
                </a:solidFill>
                <a:latin typeface="+mn-lt"/>
                <a:cs typeface="Kanit Thin" pitchFamily="2" charset="-34"/>
              </a:rPr>
              <a:t>ing</a:t>
            </a:r>
            <a:r>
              <a:rPr lang="en-US" sz="2400" b="0">
                <a:solidFill>
                  <a:schemeClr val="bg1"/>
                </a:solidFill>
                <a:latin typeface="+mn-lt"/>
                <a:cs typeface="Kanit Thin" pitchFamily="2" charset="-34"/>
              </a:rPr>
              <a:t> 3 </a:t>
            </a:r>
            <a:r>
              <a:rPr lang="en-US" sz="2400" b="0" err="1">
                <a:solidFill>
                  <a:schemeClr val="bg1"/>
                </a:solidFill>
                <a:latin typeface="+mn-lt"/>
                <a:cs typeface="Kanit Thin" pitchFamily="2" charset="-34"/>
              </a:rPr>
              <a:t>ints</a:t>
            </a:r>
            <a:endParaRPr lang="en-US" sz="24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  <a:cs typeface="Kanit Thin" pitchFamily="2" charset="-34"/>
              </a:rPr>
              <a:t>could this be a problem?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o-RO" sz="2400" b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1BE31D-8F7C-07AA-41BC-C5CC1C32BB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7646" y="1479103"/>
            <a:ext cx="7596596" cy="386506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F08486F-D962-CF6F-C302-DB8EE54070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483277" y="961184"/>
            <a:ext cx="4109013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518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8" y="254643"/>
            <a:ext cx="11178403" cy="742736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Vesta CP – The issue with Seeding (“AHA!”)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20096"/>
            <a:ext cx="8058648" cy="98087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08F7716-7C85-BE8D-67DA-A2DE61079B35}"/>
              </a:ext>
            </a:extLst>
          </p:cNvPr>
          <p:cNvSpPr txBox="1">
            <a:spLocks/>
          </p:cNvSpPr>
          <p:nvPr/>
        </p:nvSpPr>
        <p:spPr>
          <a:xfrm>
            <a:off x="483469" y="1643756"/>
            <a:ext cx="11174548" cy="448662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+mn-lt"/>
                <a:cs typeface="Kanit Thin" pitchFamily="2" charset="-34"/>
              </a:rPr>
              <a:t>The issues are the following:</a:t>
            </a:r>
          </a:p>
          <a:p>
            <a:pPr fontAlgn="auto">
              <a:spcAft>
                <a:spcPts val="0"/>
              </a:spcAft>
            </a:pPr>
            <a:endParaRPr lang="en-US" sz="16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err="1">
                <a:solidFill>
                  <a:schemeClr val="bg1"/>
                </a:solidFill>
                <a:latin typeface="+mn-lt"/>
                <a:cs typeface="Kanit Thin" pitchFamily="2" charset="-34"/>
              </a:rPr>
              <a:t>tv.tv_sec</a:t>
            </a:r>
            <a:r>
              <a:rPr lang="en-US" sz="1600" b="0">
                <a:solidFill>
                  <a:schemeClr val="bg1"/>
                </a:solidFill>
                <a:latin typeface="+mn-lt"/>
                <a:cs typeface="Kanit Thin" pitchFamily="2" charset="-34"/>
              </a:rPr>
              <a:t> – the current timestamp and occupies 8 bytes but uses only 4 bytes in practice. You can store timestamps up to year 2038 on just 4 bytes.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err="1">
                <a:solidFill>
                  <a:schemeClr val="bg1"/>
                </a:solidFill>
                <a:latin typeface="+mn-lt"/>
                <a:cs typeface="Kanit Thin" pitchFamily="2" charset="-34"/>
              </a:rPr>
              <a:t>tv.tv_usec</a:t>
            </a:r>
            <a:r>
              <a:rPr lang="en-US" sz="1600" b="0">
                <a:solidFill>
                  <a:schemeClr val="bg1"/>
                </a:solidFill>
                <a:latin typeface="+mn-lt"/>
                <a:cs typeface="Kanit Thin" pitchFamily="2" charset="-34"/>
              </a:rPr>
              <a:t> – the microseconds and occupies 8 bytes, but uses 20 bits in practice (there’s 1.000.000 microseconds in a second and </a:t>
            </a:r>
            <a:r>
              <a:rPr lang="en-US" sz="1600">
                <a:solidFill>
                  <a:schemeClr val="bg1"/>
                </a:solidFill>
                <a:latin typeface="+mn-lt"/>
                <a:cs typeface="Kanit Thin" pitchFamily="2" charset="-34"/>
              </a:rPr>
              <a:t>20 bits</a:t>
            </a:r>
            <a:r>
              <a:rPr lang="en-US" sz="1600" b="0">
                <a:solidFill>
                  <a:schemeClr val="bg1"/>
                </a:solidFill>
                <a:latin typeface="+mn-lt"/>
                <a:cs typeface="Kanit Thin" pitchFamily="2" charset="-34"/>
              </a:rPr>
              <a:t> is enough to store this)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err="1">
                <a:solidFill>
                  <a:schemeClr val="bg1"/>
                </a:solidFill>
                <a:latin typeface="+mn-lt"/>
                <a:cs typeface="Kanit Thin" pitchFamily="2" charset="-34"/>
              </a:rPr>
              <a:t>getpid</a:t>
            </a:r>
            <a:r>
              <a:rPr lang="en-US" sz="1600" b="0">
                <a:solidFill>
                  <a:schemeClr val="bg1"/>
                </a:solidFill>
                <a:latin typeface="+mn-lt"/>
                <a:cs typeface="Kanit Thin" pitchFamily="2" charset="-34"/>
              </a:rPr>
              <a:t>() – the process </a:t>
            </a:r>
            <a:r>
              <a:rPr lang="en-US" sz="1600" b="0" err="1">
                <a:solidFill>
                  <a:schemeClr val="bg1"/>
                </a:solidFill>
                <a:latin typeface="+mn-lt"/>
                <a:cs typeface="Kanit Thin" pitchFamily="2" charset="-34"/>
              </a:rPr>
              <a:t>pid</a:t>
            </a:r>
            <a:r>
              <a:rPr lang="en-US" sz="1600" b="0">
                <a:solidFill>
                  <a:schemeClr val="bg1"/>
                </a:solidFill>
                <a:latin typeface="+mn-lt"/>
                <a:cs typeface="Kanit Thin" pitchFamily="2" charset="-34"/>
              </a:rPr>
              <a:t> and occupies 4 bytes and the max value we’ve seen in our tests was around 660000, which needs </a:t>
            </a:r>
            <a:r>
              <a:rPr lang="en-US" sz="1600">
                <a:solidFill>
                  <a:schemeClr val="bg1"/>
                </a:solidFill>
                <a:latin typeface="+mn-lt"/>
                <a:cs typeface="Kanit Thin" pitchFamily="2" charset="-34"/>
              </a:rPr>
              <a:t>20 bits</a:t>
            </a:r>
            <a:r>
              <a:rPr lang="en-US" sz="1600" b="0">
                <a:solidFill>
                  <a:schemeClr val="bg1"/>
                </a:solidFill>
                <a:latin typeface="+mn-lt"/>
                <a:cs typeface="Kanit Thin" pitchFamily="2" charset="-34"/>
              </a:rPr>
              <a:t>*.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chemeClr val="bg1"/>
                </a:solidFill>
                <a:latin typeface="+mn-lt"/>
                <a:cs typeface="Kanit Thin" pitchFamily="2" charset="-34"/>
              </a:rPr>
              <a:t>Thus, the XOR operation will only change the lower </a:t>
            </a:r>
            <a:r>
              <a:rPr lang="en-US" sz="1600">
                <a:solidFill>
                  <a:schemeClr val="bg1"/>
                </a:solidFill>
                <a:latin typeface="+mn-lt"/>
                <a:cs typeface="Kanit Thin" pitchFamily="2" charset="-34"/>
              </a:rPr>
              <a:t>20 bits</a:t>
            </a:r>
            <a:r>
              <a:rPr lang="en-US" sz="1600" b="0">
                <a:solidFill>
                  <a:schemeClr val="bg1"/>
                </a:solidFill>
                <a:latin typeface="+mn-lt"/>
                <a:cs typeface="Kanit Thin" pitchFamily="2" charset="-34"/>
              </a:rPr>
              <a:t>. There’s no bit shifting here, unlike in the PHP core. </a:t>
            </a:r>
            <a:r>
              <a:rPr lang="en-US" sz="1600">
                <a:solidFill>
                  <a:schemeClr val="bg1"/>
                </a:solidFill>
                <a:latin typeface="+mn-lt"/>
                <a:cs typeface="Kanit Thin" pitchFamily="2" charset="-34"/>
              </a:rPr>
              <a:t>This was the “AHA” moment.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+mn-lt"/>
                <a:cs typeface="Kanit Thin" pitchFamily="2" charset="-34"/>
              </a:rPr>
              <a:t>NOTE: </a:t>
            </a:r>
            <a:r>
              <a:rPr lang="en-US" sz="1600" b="0" err="1">
                <a:solidFill>
                  <a:schemeClr val="bg1"/>
                </a:solidFill>
                <a:latin typeface="+mn-lt"/>
                <a:cs typeface="Kanit Thin" pitchFamily="2" charset="-34"/>
              </a:rPr>
              <a:t>getpid</a:t>
            </a:r>
            <a:r>
              <a:rPr lang="en-US" sz="1600" b="0">
                <a:solidFill>
                  <a:schemeClr val="bg1"/>
                </a:solidFill>
                <a:latin typeface="+mn-lt"/>
                <a:cs typeface="Kanit Thin" pitchFamily="2" charset="-34"/>
              </a:rPr>
              <a:t>() could be the only deal breaker here, but it would have to be a really high number to break our exploit. This would happen on a system running for a very long time or if there is a fork() bomb.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o-RO" sz="1600" b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693E0E-98DD-4A3A-673E-27FAB2B9C7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483277" y="1057528"/>
            <a:ext cx="4109013" cy="72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9042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9683216" cy="628297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Vesta CP – The issues summarized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20096"/>
            <a:ext cx="8058648" cy="98087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08F7716-7C85-BE8D-67DA-A2DE61079B35}"/>
              </a:ext>
            </a:extLst>
          </p:cNvPr>
          <p:cNvSpPr txBox="1">
            <a:spLocks/>
          </p:cNvSpPr>
          <p:nvPr/>
        </p:nvSpPr>
        <p:spPr>
          <a:xfrm>
            <a:off x="398321" y="1265531"/>
            <a:ext cx="11608975" cy="4659782"/>
          </a:xfrm>
          <a:prstGeom prst="rect">
            <a:avLst/>
          </a:prstGeom>
        </p:spPr>
        <p:txBody>
          <a:bodyPr vert="horz" lIns="91440" tIns="45720" rIns="91440" bIns="4572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By only changing the lower 20 bits of the current timestamp, we reduce entropy, and the seed will fall within an interval of approximately 12 days around the current timestamp. 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On the next slide, we’ll calculate the minimum (with the lowest 20 bits set to 0) and the maximum (with the lowest 20 bits set to all 1’s). 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It should be clear that the timestamp is the only factor that matters here, and the PID of the process and the microseconds are irrelevant.</a:t>
            </a:r>
          </a:p>
          <a:p>
            <a:pPr fontAlgn="auto">
              <a:spcAft>
                <a:spcPts val="0"/>
              </a:spcAft>
            </a:pPr>
            <a:endParaRPr lang="ro-RO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>
              <a:spcAft>
                <a:spcPts val="0"/>
              </a:spcAft>
            </a:pPr>
            <a:endParaRPr lang="ro-RO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FC2919-793F-EBCA-BA9E-28EEFB91D9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597139" y="978701"/>
            <a:ext cx="4109013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6187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10659957" cy="663909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Vesta CP – Sample PHP code for visualization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20096"/>
            <a:ext cx="8058648" cy="98087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08F7716-7C85-BE8D-67DA-A2DE61079B35}"/>
              </a:ext>
            </a:extLst>
          </p:cNvPr>
          <p:cNvSpPr txBox="1">
            <a:spLocks/>
          </p:cNvSpPr>
          <p:nvPr/>
        </p:nvSpPr>
        <p:spPr>
          <a:xfrm>
            <a:off x="483469" y="1476267"/>
            <a:ext cx="11073593" cy="4501709"/>
          </a:xfrm>
          <a:prstGeom prst="rect">
            <a:avLst/>
          </a:prstGeom>
        </p:spPr>
        <p:txBody>
          <a:bodyPr vert="horz" anchor="b">
            <a:normAutofit fontScale="92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&lt;?</a:t>
            </a:r>
            <a:r>
              <a:rPr lang="en-US" sz="16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php</a:t>
            </a:r>
            <a:endParaRPr lang="en-US" sz="16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$timestamp = time()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Original Timestamp: " . $timestamp . "\n"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</a:t>
            </a:r>
            <a:r>
              <a:rPr lang="en-US" sz="16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Orig</a:t>
            </a: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 Date: " . date('y-m-d H:i:s', $timestamp) . "\n";</a:t>
            </a:r>
          </a:p>
          <a:p>
            <a:pPr fontAlgn="auto">
              <a:spcAft>
                <a:spcPts val="0"/>
              </a:spcAft>
            </a:pPr>
            <a:endParaRPr lang="en-US" sz="16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// Create a mask where the lowest 20 bits are 0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\n\n"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$mask = ~((1 &lt;&lt; 20) - 1)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$</a:t>
            </a:r>
            <a:r>
              <a:rPr lang="en-US" sz="16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modifiedTimestamp</a:t>
            </a: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 = $timestamp &amp; $mask;</a:t>
            </a:r>
          </a:p>
          <a:p>
            <a:pPr fontAlgn="auto">
              <a:spcAft>
                <a:spcPts val="0"/>
              </a:spcAft>
            </a:pPr>
            <a:endParaRPr lang="en-US" sz="16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Mask 20 bits - set to 0\n"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Modified Timestamp: " . $</a:t>
            </a:r>
            <a:r>
              <a:rPr lang="en-US" sz="16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modifiedTimestamp</a:t>
            </a: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 . "\n"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Timestamp in Binary: " . </a:t>
            </a:r>
            <a:r>
              <a:rPr lang="en-US" sz="16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decbin</a:t>
            </a: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($</a:t>
            </a:r>
            <a:r>
              <a:rPr lang="en-US" sz="16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modifiedTimestamp</a:t>
            </a: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) . "\n"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Modified Date: " . date('y-m-d H:i:s', $</a:t>
            </a:r>
            <a:r>
              <a:rPr lang="en-US" sz="16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modifiedTimestamp</a:t>
            </a: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) . "\n"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\n\n";</a:t>
            </a:r>
          </a:p>
          <a:p>
            <a:pPr fontAlgn="auto">
              <a:spcAft>
                <a:spcPts val="0"/>
              </a:spcAft>
            </a:pPr>
            <a:endParaRPr lang="en-US" sz="16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// Create a mask where the lowest 20 bits are 1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Mask 20 bits - set to 1\n"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$end = $timestamp | ((1 &lt;&lt; 20) - 1)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end Timestamp: " . $end . "\n"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end Date: " . date('y-m-d H:i:s', $end) . "\n"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echo "end Timestamp in Binary: " . </a:t>
            </a:r>
            <a:r>
              <a:rPr lang="en-US" sz="1700" b="0" err="1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decbin</a:t>
            </a: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($end) . "\n";</a:t>
            </a:r>
          </a:p>
          <a:p>
            <a:pPr fontAlgn="auto">
              <a:spcAft>
                <a:spcPts val="0"/>
              </a:spcAft>
            </a:pPr>
            <a:r>
              <a:rPr lang="en-US" sz="1600" b="0">
                <a:solidFill>
                  <a:schemeClr val="bg1"/>
                </a:solidFill>
                <a:latin typeface="Kanit Light" pitchFamily="2" charset="-34"/>
                <a:cs typeface="Kanit Light" pitchFamily="2" charset="-34"/>
              </a:rPr>
              <a:t>?&gt;</a:t>
            </a:r>
            <a:endParaRPr lang="ro-RO" sz="16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1215192-1D36-33DC-0138-71FBDDE9DE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483277" y="917390"/>
            <a:ext cx="4109013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3080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8067406" cy="583260"/>
          </a:xfrm>
        </p:spPr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Vesta CP – PHP output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20096"/>
            <a:ext cx="8058648" cy="98087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5741137-A362-1454-C58E-F0FFE602CFAA}"/>
              </a:ext>
            </a:extLst>
          </p:cNvPr>
          <p:cNvSpPr txBox="1">
            <a:spLocks/>
          </p:cNvSpPr>
          <p:nvPr/>
        </p:nvSpPr>
        <p:spPr>
          <a:xfrm>
            <a:off x="398322" y="1479103"/>
            <a:ext cx="8058648" cy="350585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1600" b="0"/>
              <a:t>=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o-RO" sz="1600" b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08F7716-7C85-BE8D-67DA-A2DE61079B35}"/>
              </a:ext>
            </a:extLst>
          </p:cNvPr>
          <p:cNvSpPr txBox="1">
            <a:spLocks/>
          </p:cNvSpPr>
          <p:nvPr/>
        </p:nvSpPr>
        <p:spPr>
          <a:xfrm>
            <a:off x="398322" y="1479103"/>
            <a:ext cx="8058648" cy="448662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FBD779D-19AE-29E2-5775-4E8BB49E69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631" y="1476322"/>
            <a:ext cx="7588428" cy="306478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07CDDAA-636E-4D58-AEA9-2A637B6D9D44}"/>
              </a:ext>
            </a:extLst>
          </p:cNvPr>
          <p:cNvSpPr txBox="1"/>
          <p:nvPr/>
        </p:nvSpPr>
        <p:spPr>
          <a:xfrm>
            <a:off x="486281" y="4646011"/>
            <a:ext cx="7980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Kanit Thin"/>
                <a:cs typeface="Kanit Thin"/>
              </a:rPr>
              <a:t>Output to show how XOR affects the timestamp [</a:t>
            </a:r>
            <a:r>
              <a:rPr lang="en-US" sz="2400" b="1" err="1">
                <a:solidFill>
                  <a:schemeClr val="bg1"/>
                </a:solidFill>
                <a:latin typeface="Kanit Thin"/>
                <a:cs typeface="Kanit Thin"/>
              </a:rPr>
              <a:t>min,max</a:t>
            </a:r>
            <a:r>
              <a:rPr lang="en-US" sz="2400" b="1">
                <a:solidFill>
                  <a:schemeClr val="bg1"/>
                </a:solidFill>
                <a:latin typeface="Kanit Thin"/>
                <a:cs typeface="Kanit Thin"/>
              </a:rPr>
              <a:t>]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06DADE-B3DB-D3F8-0EA7-2AC091C083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483277" y="961184"/>
            <a:ext cx="4109013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4820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11098608" cy="578239"/>
          </a:xfrm>
        </p:spPr>
        <p:txBody>
          <a:bodyPr vert="horz" lIns="91440" tIns="45720" rIns="91440" bIns="45720" anchor="b">
            <a:noAutofit/>
          </a:bodyPr>
          <a:lstStyle/>
          <a:p>
            <a:r>
              <a:rPr lang="en-US" sz="4000">
                <a:solidFill>
                  <a:schemeClr val="bg1"/>
                </a:solidFill>
              </a:rPr>
              <a:t>Vesta CP – “Local” exploit to test our theory</a:t>
            </a:r>
            <a:endParaRPr lang="ro-RO" sz="4000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08F7716-7C85-BE8D-67DA-A2DE61079B35}"/>
              </a:ext>
            </a:extLst>
          </p:cNvPr>
          <p:cNvSpPr txBox="1">
            <a:spLocks/>
          </p:cNvSpPr>
          <p:nvPr/>
        </p:nvSpPr>
        <p:spPr>
          <a:xfrm>
            <a:off x="398322" y="1479103"/>
            <a:ext cx="8058648" cy="448662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CBE46F4-BFC3-0EBB-E20F-18E9AE1715B9}"/>
              </a:ext>
            </a:extLst>
          </p:cNvPr>
          <p:cNvSpPr txBox="1">
            <a:spLocks/>
          </p:cNvSpPr>
          <p:nvPr/>
        </p:nvSpPr>
        <p:spPr>
          <a:xfrm>
            <a:off x="550722" y="1653054"/>
            <a:ext cx="11240835" cy="4027484"/>
          </a:xfrm>
          <a:prstGeom prst="rect">
            <a:avLst/>
          </a:prstGeom>
        </p:spPr>
        <p:txBody>
          <a:bodyPr vert="horz" lIns="91440" tIns="45720" rIns="91440" bIns="4572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24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>
              <a:spcAft>
                <a:spcPts val="0"/>
              </a:spcAft>
            </a:pPr>
            <a:endParaRPr lang="en-US" sz="2400" b="0">
              <a:solidFill>
                <a:schemeClr val="bg1"/>
              </a:solidFill>
              <a:latin typeface="+mn-lt"/>
              <a:cs typeface="Kanit Thin"/>
            </a:endParaRPr>
          </a:p>
          <a:p>
            <a:pPr>
              <a:spcAft>
                <a:spcPts val="0"/>
              </a:spcAft>
            </a:pPr>
            <a:endParaRPr lang="en-US" sz="2400" b="0">
              <a:solidFill>
                <a:schemeClr val="bg1"/>
              </a:solidFill>
              <a:latin typeface="+mn-lt"/>
              <a:cs typeface="Kanit Thin"/>
            </a:endParaRPr>
          </a:p>
          <a:p>
            <a:pPr>
              <a:spcAft>
                <a:spcPts val="0"/>
              </a:spcAft>
            </a:pPr>
            <a:endParaRPr lang="en-US" sz="2400" b="0">
              <a:solidFill>
                <a:schemeClr val="bg1"/>
              </a:solidFill>
              <a:latin typeface="+mn-lt"/>
              <a:cs typeface="Kanit Thin"/>
            </a:endParaRPr>
          </a:p>
          <a:p>
            <a:pPr>
              <a:spcAft>
                <a:spcPts val="0"/>
              </a:spcAft>
            </a:pPr>
            <a:endParaRPr lang="en-US" sz="2400" b="0">
              <a:solidFill>
                <a:schemeClr val="bg1"/>
              </a:solidFill>
              <a:latin typeface="+mn-lt"/>
              <a:cs typeface="Kanit Thin"/>
            </a:endParaRP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  <a:cs typeface="Kanit Thin"/>
            </a:endParaRP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we’ve extended </a:t>
            </a: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shRandomCracker</a:t>
            </a: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 </a:t>
            </a:r>
            <a:endParaRPr lang="en-US">
              <a:solidFill>
                <a:schemeClr val="bg1"/>
              </a:solidFill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added a method to </a:t>
            </a:r>
            <a:r>
              <a:rPr lang="en-US" sz="2400" b="0" err="1">
                <a:solidFill>
                  <a:schemeClr val="bg1"/>
                </a:solidFill>
                <a:latin typeface="+mn-lt"/>
                <a:cs typeface="Kanit Thin"/>
              </a:rPr>
              <a:t>bruteforce</a:t>
            </a: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 all 4B+ seeds  (because rust is fast)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can we generate a password reset token that is stored in the vesta </a:t>
            </a:r>
            <a:r>
              <a:rPr lang="en-US" sz="2400" b="0" err="1">
                <a:solidFill>
                  <a:schemeClr val="bg1"/>
                </a:solidFill>
                <a:latin typeface="+mn-lt"/>
                <a:cs typeface="Kanit Thin"/>
              </a:rPr>
              <a:t>user.conf</a:t>
            </a: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 file?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we don’t really need to </a:t>
            </a:r>
            <a:r>
              <a:rPr lang="en-US" sz="2400" b="0" err="1">
                <a:solidFill>
                  <a:schemeClr val="bg1"/>
                </a:solidFill>
                <a:latin typeface="+mn-lt"/>
                <a:cs typeface="Kanit Thin"/>
              </a:rPr>
              <a:t>brutefoce</a:t>
            </a: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 4B+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  <a:cs typeface="Kanit Thin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err="1">
                <a:solidFill>
                  <a:schemeClr val="bg1"/>
                </a:solidFill>
                <a:latin typeface="+mn-lt"/>
                <a:cs typeface="Kanit Thin"/>
              </a:rPr>
              <a:t>bruteforce</a:t>
            </a:r>
            <a:r>
              <a:rPr lang="en-US" sz="2400" b="0">
                <a:solidFill>
                  <a:schemeClr val="bg1"/>
                </a:solidFill>
                <a:latin typeface="+mn-lt"/>
                <a:cs typeface="Kanit Thin"/>
              </a:rPr>
              <a:t> the timestamps for the past 1-3 years, in reverse chronological order</a:t>
            </a:r>
          </a:p>
          <a:p>
            <a:pPr fontAlgn="auto">
              <a:spcAft>
                <a:spcPts val="0"/>
              </a:spcAft>
            </a:pPr>
            <a:endParaRPr lang="ro-RO" sz="2400" b="0">
              <a:solidFill>
                <a:schemeClr val="bg1"/>
              </a:solidFill>
              <a:latin typeface="+mn-lt"/>
              <a:cs typeface="Kanit Ligh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001BBA-DF90-739B-9241-D401CBD7CF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553345" y="943666"/>
            <a:ext cx="4109013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333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537" y="254643"/>
            <a:ext cx="10413959" cy="519002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Vesta CP – “Local” exploit output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20096"/>
            <a:ext cx="8058648" cy="98087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08F7716-7C85-BE8D-67DA-A2DE61079B35}"/>
              </a:ext>
            </a:extLst>
          </p:cNvPr>
          <p:cNvSpPr txBox="1">
            <a:spLocks/>
          </p:cNvSpPr>
          <p:nvPr/>
        </p:nvSpPr>
        <p:spPr>
          <a:xfrm>
            <a:off x="398322" y="1479103"/>
            <a:ext cx="8058648" cy="473031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CBE46F4-BFC3-0EBB-E20F-18E9AE1715B9}"/>
              </a:ext>
            </a:extLst>
          </p:cNvPr>
          <p:cNvSpPr txBox="1">
            <a:spLocks/>
          </p:cNvSpPr>
          <p:nvPr/>
        </p:nvSpPr>
        <p:spPr>
          <a:xfrm>
            <a:off x="550722" y="1631503"/>
            <a:ext cx="8058648" cy="4223197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ro-RO" sz="1600" b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1F9F3C5-8543-C5B8-C1AC-1FF0F0686E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723" y="1261820"/>
            <a:ext cx="7367727" cy="13049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A682859-CDF2-F690-27DD-F4FF5FE67E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0721" y="2958433"/>
            <a:ext cx="7450719" cy="27483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37572BE-A70A-EE85-CA12-08EF77752909}"/>
              </a:ext>
            </a:extLst>
          </p:cNvPr>
          <p:cNvSpPr txBox="1"/>
          <p:nvPr/>
        </p:nvSpPr>
        <p:spPr>
          <a:xfrm>
            <a:off x="2000250" y="5855562"/>
            <a:ext cx="3834079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Kanit Thin"/>
                <a:cs typeface="Kanit Thin"/>
              </a:rPr>
              <a:t>Brute-forcing the RKEY for local test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D3A00F-A563-7639-4C15-2533FFBF31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553345" y="891114"/>
            <a:ext cx="4109013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7490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8" y="254643"/>
            <a:ext cx="8744548" cy="687183"/>
          </a:xfrm>
        </p:spPr>
        <p:txBody>
          <a:bodyPr vert="horz" lIns="91440" tIns="45720" rIns="91440" bIns="45720" anchor="b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Vesta CP – Turbo Intruder FTW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20096"/>
            <a:ext cx="8058648" cy="98087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5741137-A362-1454-C58E-F0FFE602CFAA}"/>
              </a:ext>
            </a:extLst>
          </p:cNvPr>
          <p:cNvSpPr txBox="1">
            <a:spLocks/>
          </p:cNvSpPr>
          <p:nvPr/>
        </p:nvSpPr>
        <p:spPr>
          <a:xfrm>
            <a:off x="398322" y="1479103"/>
            <a:ext cx="8058648" cy="350585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o-RO" sz="1600" b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08F7716-7C85-BE8D-67DA-A2DE61079B35}"/>
              </a:ext>
            </a:extLst>
          </p:cNvPr>
          <p:cNvSpPr txBox="1">
            <a:spLocks/>
          </p:cNvSpPr>
          <p:nvPr/>
        </p:nvSpPr>
        <p:spPr>
          <a:xfrm>
            <a:off x="398322" y="1479103"/>
            <a:ext cx="8058648" cy="448662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CBE46F4-BFC3-0EBB-E20F-18E9AE1715B9}"/>
              </a:ext>
            </a:extLst>
          </p:cNvPr>
          <p:cNvSpPr txBox="1">
            <a:spLocks/>
          </p:cNvSpPr>
          <p:nvPr/>
        </p:nvSpPr>
        <p:spPr>
          <a:xfrm>
            <a:off x="550722" y="1631503"/>
            <a:ext cx="8058648" cy="448662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AFC619A-2DC1-1926-6D0B-E817BE5BFBF6}"/>
              </a:ext>
            </a:extLst>
          </p:cNvPr>
          <p:cNvSpPr txBox="1">
            <a:spLocks/>
          </p:cNvSpPr>
          <p:nvPr/>
        </p:nvSpPr>
        <p:spPr>
          <a:xfrm>
            <a:off x="703121" y="1384661"/>
            <a:ext cx="11009454" cy="4844870"/>
          </a:xfrm>
          <a:prstGeom prst="rect">
            <a:avLst/>
          </a:prstGeom>
        </p:spPr>
        <p:txBody>
          <a:bodyPr vert="horz" lIns="91440" tIns="45720" rIns="91440" bIns="4572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rgbClr val="129C97"/>
              </a:solidFill>
              <a:latin typeface="Kanit Light" pitchFamily="2" charset="-34"/>
              <a:cs typeface="Kanit Light" pitchFamily="2" charset="-34"/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FORTBRIDGE-UK/vesta-poc</a:t>
            </a: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</a:rPr>
              <a:t>  Turbo Intruder Script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</a:rPr>
              <a:t>Brute-force [2023-2024], then [2022-2023] </a:t>
            </a:r>
            <a:r>
              <a:rPr lang="en-US" sz="2400" b="0" dirty="0" err="1">
                <a:solidFill>
                  <a:schemeClr val="bg1"/>
                </a:solidFill>
                <a:latin typeface="Kanit Light"/>
                <a:cs typeface="Kanit Light"/>
              </a:rPr>
              <a:t>etc</a:t>
            </a:r>
            <a:endParaRPr lang="en-US" sz="2400" b="0" dirty="0">
              <a:solidFill>
                <a:schemeClr val="bg1"/>
              </a:solidFill>
              <a:latin typeface="Kanit Light"/>
              <a:cs typeface="Kanit Light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</a:rPr>
              <a:t>There’s 31.5M attempts / year (86400*365)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</a:rPr>
              <a:t>Brute-force for 3 years, that’s ~95M  requests, which is 98% optimization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</a:rPr>
              <a:t>For other Turbo Intruder optimization tips see: </a:t>
            </a: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tbridge.co.uk/research/multiple-vulnerabilities-in-concrete-cms-part1-rce/</a:t>
            </a:r>
            <a:r>
              <a:rPr lang="en-US" sz="2400" b="0" dirty="0">
                <a:solidFill>
                  <a:schemeClr val="bg1"/>
                </a:solidFill>
                <a:latin typeface="Kanit Light"/>
                <a:cs typeface="Kanit Light"/>
              </a:rPr>
              <a:t> 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  <a:p>
            <a:pPr fontAlgn="auto">
              <a:spcAft>
                <a:spcPts val="0"/>
              </a:spcAft>
            </a:pPr>
            <a:endParaRPr lang="ro-RO" sz="2400" b="0">
              <a:solidFill>
                <a:schemeClr val="bg1"/>
              </a:solidFill>
              <a:latin typeface="Kanit Light" pitchFamily="2" charset="-34"/>
              <a:cs typeface="Kanit Light" pitchFamily="2" charset="-34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0F698A-09E1-A077-46A9-62EE0AD30C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623415" y="940809"/>
            <a:ext cx="4144047" cy="63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4404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8067406" cy="542850"/>
          </a:xfrm>
        </p:spPr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Vesta CP – The Glorious Win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20096"/>
            <a:ext cx="8058648" cy="98087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5741137-A362-1454-C58E-F0FFE602CFAA}"/>
              </a:ext>
            </a:extLst>
          </p:cNvPr>
          <p:cNvSpPr txBox="1">
            <a:spLocks/>
          </p:cNvSpPr>
          <p:nvPr/>
        </p:nvSpPr>
        <p:spPr>
          <a:xfrm>
            <a:off x="398322" y="1479103"/>
            <a:ext cx="8058648" cy="350585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o-RO" sz="1600" b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08F7716-7C85-BE8D-67DA-A2DE61079B35}"/>
              </a:ext>
            </a:extLst>
          </p:cNvPr>
          <p:cNvSpPr txBox="1">
            <a:spLocks/>
          </p:cNvSpPr>
          <p:nvPr/>
        </p:nvSpPr>
        <p:spPr>
          <a:xfrm>
            <a:off x="398322" y="1479103"/>
            <a:ext cx="8058648" cy="448662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CBE46F4-BFC3-0EBB-E20F-18E9AE1715B9}"/>
              </a:ext>
            </a:extLst>
          </p:cNvPr>
          <p:cNvSpPr txBox="1">
            <a:spLocks/>
          </p:cNvSpPr>
          <p:nvPr/>
        </p:nvSpPr>
        <p:spPr>
          <a:xfrm>
            <a:off x="550722" y="1631503"/>
            <a:ext cx="8058648" cy="448662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AFC619A-2DC1-1926-6D0B-E817BE5BFBF6}"/>
              </a:ext>
            </a:extLst>
          </p:cNvPr>
          <p:cNvSpPr txBox="1">
            <a:spLocks/>
          </p:cNvSpPr>
          <p:nvPr/>
        </p:nvSpPr>
        <p:spPr>
          <a:xfrm>
            <a:off x="703122" y="1783903"/>
            <a:ext cx="7924142" cy="448662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ro-RO" sz="1600" b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3ED195B-79CC-C38A-D403-31CBC810C0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296" y="1029433"/>
            <a:ext cx="7105177" cy="440227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312CF99-2196-5CE0-7E8C-4456D00C096A}"/>
              </a:ext>
            </a:extLst>
          </p:cNvPr>
          <p:cNvSpPr txBox="1"/>
          <p:nvPr/>
        </p:nvSpPr>
        <p:spPr>
          <a:xfrm>
            <a:off x="2082800" y="5439253"/>
            <a:ext cx="3723180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Kanit Thin"/>
                <a:cs typeface="Kanit Thin"/>
              </a:rPr>
              <a:t>Remote exploit with Turbo Intruder script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0DA332D-0AF4-053A-34E0-DFE36829F1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483277" y="794770"/>
            <a:ext cx="4109013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423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81E41B-336E-2342-8465-648FE6792B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8659" y="244979"/>
            <a:ext cx="8970380" cy="863149"/>
          </a:xfrm>
        </p:spPr>
        <p:txBody>
          <a:bodyPr anchor="b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What is this TALK about?</a:t>
            </a:r>
            <a:endParaRPr lang="ro-RO">
              <a:solidFill>
                <a:schemeClr val="bg1"/>
              </a:solidFill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E66D2C3C-811A-F018-4FD9-6BE84F2412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8887" y="1712870"/>
            <a:ext cx="5671595" cy="2533928"/>
          </a:xfrm>
        </p:spPr>
        <p:txBody>
          <a:bodyPr lIns="91440" tIns="45720" rIns="91440" bIns="45720" anchor="t">
            <a:normAutofit/>
          </a:bodyPr>
          <a:lstStyle/>
          <a:p>
            <a:pPr marL="342900" indent="-342900" algn="l">
              <a:buChar char="•"/>
            </a:pPr>
            <a:r>
              <a:rPr lang="en-US">
                <a:solidFill>
                  <a:schemeClr val="bg1"/>
                </a:solidFill>
              </a:rPr>
              <a:t> Password reset tokens (my favorite)</a:t>
            </a:r>
            <a:endParaRPr lang="en-US"/>
          </a:p>
          <a:p>
            <a:pPr marL="342900" indent="-342900" algn="l">
              <a:buChar char="•"/>
            </a:pPr>
            <a:r>
              <a:rPr lang="en-US">
                <a:solidFill>
                  <a:schemeClr val="bg1"/>
                </a:solidFill>
              </a:rPr>
              <a:t>Application Security</a:t>
            </a:r>
            <a:endParaRPr lang="en-US">
              <a:solidFill>
                <a:schemeClr val="bg1"/>
              </a:solidFill>
              <a:cs typeface="Kanit Light"/>
            </a:endParaRPr>
          </a:p>
          <a:p>
            <a:pPr marL="342900" indent="-342900" algn="l">
              <a:buChar char="•"/>
            </a:pPr>
            <a:r>
              <a:rPr lang="en-US">
                <a:solidFill>
                  <a:schemeClr val="bg1"/>
                </a:solidFill>
              </a:rPr>
              <a:t> Web + binary mixture</a:t>
            </a:r>
            <a:endParaRPr lang="en-US">
              <a:solidFill>
                <a:schemeClr val="bg1"/>
              </a:solidFill>
              <a:cs typeface="Kanit Light"/>
            </a:endParaRPr>
          </a:p>
          <a:p>
            <a:pPr marL="342900" indent="-342900" algn="l">
              <a:buChar char="•"/>
            </a:pPr>
            <a:endParaRPr lang="en-US">
              <a:solidFill>
                <a:schemeClr val="bg1"/>
              </a:solidFill>
              <a:cs typeface="Kanit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234E50-0219-D190-7276-6DCF8FF9A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1118887" y="1106065"/>
            <a:ext cx="4109013" cy="60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651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A603F-CA8C-837C-8E62-BD75FBA72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60B98-3717-74BB-2A10-AB8AA7E0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3"/>
            <a:ext cx="8127762" cy="696169"/>
          </a:xfrm>
        </p:spPr>
        <p:txBody>
          <a:bodyPr vert="horz" lIns="91440" tIns="45720" rIns="91440" bIns="45720" anchor="b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Vesta CP – Fix &amp; Conclusion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1B89DA1-732E-3049-C4A6-C486C1E39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39BB4-79BE-6C5C-8A56-41223326B8B4}"/>
              </a:ext>
            </a:extLst>
          </p:cNvPr>
          <p:cNvSpPr txBox="1">
            <a:spLocks/>
          </p:cNvSpPr>
          <p:nvPr/>
        </p:nvSpPr>
        <p:spPr>
          <a:xfrm>
            <a:off x="398322" y="1520096"/>
            <a:ext cx="8058648" cy="98087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5741137-A362-1454-C58E-F0FFE602CFAA}"/>
              </a:ext>
            </a:extLst>
          </p:cNvPr>
          <p:cNvSpPr txBox="1">
            <a:spLocks/>
          </p:cNvSpPr>
          <p:nvPr/>
        </p:nvSpPr>
        <p:spPr>
          <a:xfrm>
            <a:off x="398322" y="1479103"/>
            <a:ext cx="8058648" cy="350585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o-RO" sz="1600" b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08F7716-7C85-BE8D-67DA-A2DE61079B35}"/>
              </a:ext>
            </a:extLst>
          </p:cNvPr>
          <p:cNvSpPr txBox="1">
            <a:spLocks/>
          </p:cNvSpPr>
          <p:nvPr/>
        </p:nvSpPr>
        <p:spPr>
          <a:xfrm>
            <a:off x="398322" y="1479103"/>
            <a:ext cx="8058648" cy="448662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CBE46F4-BFC3-0EBB-E20F-18E9AE1715B9}"/>
              </a:ext>
            </a:extLst>
          </p:cNvPr>
          <p:cNvSpPr txBox="1">
            <a:spLocks/>
          </p:cNvSpPr>
          <p:nvPr/>
        </p:nvSpPr>
        <p:spPr>
          <a:xfrm>
            <a:off x="550722" y="1631503"/>
            <a:ext cx="8058648" cy="448662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/>
          </a:p>
          <a:p>
            <a:pPr fontAlgn="auto">
              <a:spcAft>
                <a:spcPts val="0"/>
              </a:spcAft>
            </a:pPr>
            <a:endParaRPr lang="ro-RO" sz="1600" b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AFC619A-2DC1-1926-6D0B-E817BE5BFBF6}"/>
              </a:ext>
            </a:extLst>
          </p:cNvPr>
          <p:cNvSpPr txBox="1">
            <a:spLocks/>
          </p:cNvSpPr>
          <p:nvPr/>
        </p:nvSpPr>
        <p:spPr>
          <a:xfrm>
            <a:off x="485372" y="1520365"/>
            <a:ext cx="9901849" cy="4375686"/>
          </a:xfrm>
          <a:prstGeom prst="rect">
            <a:avLst/>
          </a:prstGeom>
        </p:spPr>
        <p:txBody>
          <a:bodyPr vert="horz" lIns="91440" tIns="45720" rIns="91440" bIns="4572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</a:rPr>
              <a:t>Migrate to Hestia CP</a:t>
            </a:r>
            <a:endParaRPr lang="en-US" sz="2400" b="0">
              <a:solidFill>
                <a:schemeClr val="bg1"/>
              </a:solidFill>
              <a:latin typeface="+mn-lt"/>
              <a:cs typeface="Kanit Light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</a:rPr>
              <a:t>Vesta CP is discontinued 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</a:rPr>
              <a:t>Use Crypto Secure functions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</a:rPr>
              <a:t>Do </a:t>
            </a:r>
            <a:r>
              <a:rPr lang="en-US" sz="2400" b="0" err="1">
                <a:solidFill>
                  <a:schemeClr val="bg1"/>
                </a:solidFill>
                <a:latin typeface="+mn-lt"/>
              </a:rPr>
              <a:t>pentests</a:t>
            </a:r>
            <a:r>
              <a:rPr lang="en-US" sz="2400" b="0">
                <a:solidFill>
                  <a:schemeClr val="bg1"/>
                </a:solidFill>
                <a:latin typeface="+mn-lt"/>
              </a:rPr>
              <a:t> &amp; code reviews for maximum efficiency (deep bugs)</a:t>
            </a:r>
            <a:endParaRPr lang="en-US" sz="2400" b="0">
              <a:solidFill>
                <a:schemeClr val="bg1"/>
              </a:solidFill>
              <a:latin typeface="+mn-lt"/>
              <a:cs typeface="Kanit Light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>
                <a:solidFill>
                  <a:schemeClr val="bg1"/>
                </a:solidFill>
                <a:latin typeface="+mn-lt"/>
              </a:rPr>
              <a:t>Audit your entire stack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  <a:cs typeface="Kanit Light"/>
            </a:endParaRP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  <a:cs typeface="Kanit Light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  <a:cs typeface="Kanit Light"/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b="0">
              <a:solidFill>
                <a:schemeClr val="bg1"/>
              </a:solidFill>
              <a:latin typeface="+mn-lt"/>
              <a:cs typeface="Kanit Light"/>
            </a:endParaRPr>
          </a:p>
          <a:p>
            <a:pPr fontAlgn="auto">
              <a:spcAft>
                <a:spcPts val="0"/>
              </a:spcAft>
            </a:pPr>
            <a:endParaRPr lang="ro-RO" sz="2400" b="0">
              <a:solidFill>
                <a:schemeClr val="bg1"/>
              </a:solidFill>
              <a:latin typeface="+mn-lt"/>
              <a:cs typeface="Kanit Ligh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AAEBE5-0320-1453-105A-CADD2E7795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553345" y="1118839"/>
            <a:ext cx="4109013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46357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CCCAB-CE81-F92C-1B34-7FC0905170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C5B5D84-4DF8-5CBB-3F59-3D1C02238FBA}"/>
              </a:ext>
            </a:extLst>
          </p:cNvPr>
          <p:cNvSpPr txBox="1"/>
          <p:nvPr/>
        </p:nvSpPr>
        <p:spPr>
          <a:xfrm>
            <a:off x="557054" y="1520802"/>
            <a:ext cx="10873621" cy="4381781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/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For</a:t>
            </a:r>
            <a:r>
              <a:rPr lang="en-US" b="1" i="0">
                <a:solidFill>
                  <a:schemeClr val="bg1"/>
                </a:solidFill>
                <a:effectLst/>
                <a:latin typeface="+mn-lt"/>
              </a:rPr>
              <a:t> web app </a:t>
            </a:r>
            <a:r>
              <a:rPr lang="en-US" b="1" i="0" err="1">
                <a:solidFill>
                  <a:schemeClr val="bg1"/>
                </a:solidFill>
                <a:effectLst/>
                <a:latin typeface="+mn-lt"/>
              </a:rPr>
              <a:t>pentest</a:t>
            </a:r>
            <a:r>
              <a:rPr lang="en-US" b="1" i="0">
                <a:solidFill>
                  <a:schemeClr val="bg1"/>
                </a:solidFill>
                <a:effectLst/>
                <a:latin typeface="+mn-lt"/>
              </a:rPr>
              <a:t> research </a:t>
            </a: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and a peek into PHP internals</a:t>
            </a:r>
            <a:r>
              <a:rPr lang="en-US" b="1" i="0">
                <a:solidFill>
                  <a:schemeClr val="bg1"/>
                </a:solidFill>
                <a:effectLst/>
                <a:latin typeface="+mn-lt"/>
              </a:rPr>
              <a:t>, </a:t>
            </a: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check</a:t>
            </a:r>
            <a:r>
              <a:rPr lang="en-US" b="1" i="0">
                <a:solidFill>
                  <a:schemeClr val="bg1"/>
                </a:solidFill>
                <a:effectLst/>
                <a:latin typeface="+mn-lt"/>
              </a:rPr>
              <a:t> </a:t>
            </a:r>
            <a:r>
              <a:rPr lang="en-US" b="1" i="0" u="none" strike="noStrike">
                <a:solidFill>
                  <a:schemeClr val="bg1"/>
                </a:solidFill>
                <a:effectLst/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ultiple Concrete CMS Vulnerabilities (Part 1 – RCE)</a:t>
            </a: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: This article investigates achieving remote code execution through 2 race conditions vulnerabilities in the file upload functionality in Concrete CMS, providing a detailed examination of potential security risks and mitigation strategies.</a:t>
            </a: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latin typeface="+mn-lt"/>
              </a:rPr>
              <a:t>F</a:t>
            </a: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or </a:t>
            </a:r>
            <a:r>
              <a:rPr lang="en-US" b="1" i="0">
                <a:solidFill>
                  <a:schemeClr val="bg1"/>
                </a:solidFill>
                <a:effectLst/>
                <a:latin typeface="+mn-lt"/>
              </a:rPr>
              <a:t>Mobile &amp; API testing research</a:t>
            </a: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, check </a:t>
            </a:r>
            <a:r>
              <a:rPr lang="en-US" b="1" i="0">
                <a:solidFill>
                  <a:schemeClr val="bg1"/>
                </a:solidFill>
                <a:effectLst/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eld dating app – Your nudes and data were publicly available</a:t>
            </a: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: This article details investigates the importance of securing </a:t>
            </a:r>
            <a:r>
              <a:rPr lang="en-US" b="0" i="0" err="1">
                <a:solidFill>
                  <a:schemeClr val="bg1"/>
                </a:solidFill>
                <a:effectLst/>
                <a:latin typeface="+mn-lt"/>
              </a:rPr>
              <a:t>GraphQL</a:t>
            </a: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 endpoints properly in order to prevent massive information data leaks.</a:t>
            </a:r>
            <a:endParaRPr lang="en-US" b="0" i="0">
              <a:solidFill>
                <a:schemeClr val="bg1"/>
              </a:solidFill>
              <a:effectLst/>
              <a:latin typeface="+mn-lt"/>
              <a:cs typeface="Kanit Light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For</a:t>
            </a:r>
            <a:r>
              <a:rPr lang="en-US" b="1" i="0">
                <a:solidFill>
                  <a:schemeClr val="bg1"/>
                </a:solidFill>
                <a:effectLst/>
                <a:latin typeface="+mn-lt"/>
              </a:rPr>
              <a:t> </a:t>
            </a: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our</a:t>
            </a:r>
            <a:r>
              <a:rPr lang="en-US" b="1" i="0">
                <a:solidFill>
                  <a:schemeClr val="bg1"/>
                </a:solidFill>
                <a:effectLst/>
                <a:latin typeface="+mn-lt"/>
              </a:rPr>
              <a:t> open source contribution to security tools, </a:t>
            </a: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check</a:t>
            </a:r>
            <a:r>
              <a:rPr lang="en-US" b="1" i="0">
                <a:solidFill>
                  <a:schemeClr val="bg1"/>
                </a:solidFill>
                <a:effectLst/>
                <a:latin typeface="+mn-lt"/>
              </a:rPr>
              <a:t> </a:t>
            </a:r>
            <a:r>
              <a:rPr lang="en-US" b="1" i="0" u="none" strike="noStrike">
                <a:solidFill>
                  <a:schemeClr val="bg1"/>
                </a:solidFill>
                <a:effectLst/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hishing Like a Pro: A Guide for Pentesters to Add SPF, DMARC, DKIM, and MX Records to Evilginx</a:t>
            </a: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: This guide delves into advanced phishing techniques and how to effectively use SPF, DMARC, DKIM, and MX records with </a:t>
            </a:r>
            <a:r>
              <a:rPr lang="en-US" b="0" i="0" err="1">
                <a:solidFill>
                  <a:schemeClr val="bg1"/>
                </a:solidFill>
                <a:effectLst/>
                <a:latin typeface="+mn-lt"/>
              </a:rPr>
              <a:t>Evilginx</a:t>
            </a:r>
            <a:r>
              <a:rPr lang="en-US" b="0" i="0">
                <a:solidFill>
                  <a:schemeClr val="bg1"/>
                </a:solidFill>
                <a:effectLst/>
                <a:latin typeface="+mn-lt"/>
              </a:rPr>
              <a:t> for penetration testing.</a:t>
            </a:r>
            <a:endParaRPr lang="en-US" b="0" i="0">
              <a:solidFill>
                <a:schemeClr val="bg1"/>
              </a:solidFill>
              <a:effectLst/>
              <a:latin typeface="+mn-lt"/>
              <a:cs typeface="Kanit Ligh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A55565-6CDC-5D13-2657-636C22652E95}"/>
              </a:ext>
            </a:extLst>
          </p:cNvPr>
          <p:cNvSpPr txBox="1">
            <a:spLocks/>
          </p:cNvSpPr>
          <p:nvPr/>
        </p:nvSpPr>
        <p:spPr>
          <a:xfrm>
            <a:off x="549884" y="252509"/>
            <a:ext cx="9831345" cy="812605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>
                <a:solidFill>
                  <a:srgbClr val="5F4776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See Our Leading Research Insights</a:t>
            </a: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30CCC2C6-ABFD-1DB6-1171-5533DB9FC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B02FF76-4D80-8FBC-F6A1-C01A7151CF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V="1">
            <a:off x="553345" y="1066287"/>
            <a:ext cx="4109013" cy="9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9613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886D98-0FF6-CC0E-7110-8FCBC0D737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8" name="Picture 6">
            <a:extLst>
              <a:ext uri="{FF2B5EF4-FFF2-40B4-BE49-F238E27FC236}">
                <a16:creationId xmlns:a16="http://schemas.microsoft.com/office/drawing/2014/main" id="{E7BD4F8F-CFD7-53D1-71B7-BE0BA66CCF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A9E152D4-21BF-EE35-FDEC-5ED32D8215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066" y="569802"/>
            <a:ext cx="4095750" cy="52959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E5CD7DF-10B7-418A-253B-72A1C2B67128}"/>
              </a:ext>
            </a:extLst>
          </p:cNvPr>
          <p:cNvSpPr txBox="1"/>
          <p:nvPr/>
        </p:nvSpPr>
        <p:spPr>
          <a:xfrm>
            <a:off x="5221357" y="740465"/>
            <a:ext cx="6122504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600" b="1">
                <a:solidFill>
                  <a:schemeClr val="bg1"/>
                </a:solidFill>
                <a:latin typeface="Kanit Medium"/>
              </a:rPr>
              <a:t>Let's connect</a:t>
            </a:r>
            <a:r>
              <a:rPr lang="en-GB" sz="6600">
                <a:solidFill>
                  <a:schemeClr val="bg1"/>
                </a:solidFill>
                <a:latin typeface="Kanit Medium"/>
              </a:rPr>
              <a:t>​</a:t>
            </a:r>
            <a:endParaRPr lang="en-GB">
              <a:solidFill>
                <a:schemeClr val="bg1"/>
              </a:solidFill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8F64BC-F628-47E1-6099-157C7B3EF4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5370587" y="1714425"/>
            <a:ext cx="4109013" cy="113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5106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7C287C-03AE-A24B-BAA1-017FBD959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69" y="254641"/>
            <a:ext cx="9406681" cy="671549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chemeClr val="bg1"/>
                </a:solidFill>
              </a:rPr>
              <a:t>OWASP Top 10 - #2 Security Risk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21CF41A6-92C8-4936-B621-3AFAABA91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558E3EF-D21C-958D-2F28-287AACA42B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8210" y="1802748"/>
            <a:ext cx="6374674" cy="2513634"/>
          </a:xfrm>
          <a:prstGeom prst="rect">
            <a:avLst/>
          </a:prstGeom>
        </p:spPr>
      </p:pic>
      <p:pic>
        <p:nvPicPr>
          <p:cNvPr id="8" name="Picture 7" descr="A screenshot of a computer">
            <a:extLst>
              <a:ext uri="{FF2B5EF4-FFF2-40B4-BE49-F238E27FC236}">
                <a16:creationId xmlns:a16="http://schemas.microsoft.com/office/drawing/2014/main" id="{35B02EDF-7A6E-9E13-C6DA-2E20FD3D6B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558" y="1802748"/>
            <a:ext cx="4612896" cy="25535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B00A75-A0BA-CC43-36AB-9DE5315638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676554" y="1062407"/>
            <a:ext cx="4117295" cy="7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567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36DC5D-321C-820A-ADEB-DD4CA89CC2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D58A8B4-4F36-6C88-2193-F0439CFDABD9}"/>
              </a:ext>
            </a:extLst>
          </p:cNvPr>
          <p:cNvSpPr txBox="1"/>
          <p:nvPr/>
        </p:nvSpPr>
        <p:spPr>
          <a:xfrm>
            <a:off x="548296" y="1914939"/>
            <a:ext cx="10893842" cy="3987644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web based control panel,  similar to </a:t>
            </a:r>
            <a:r>
              <a:rPr lang="en-US" sz="2400">
                <a:solidFill>
                  <a:schemeClr val="bg1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Panel/WHM</a:t>
            </a:r>
            <a:r>
              <a:rPr lang="en-US" sz="2400">
                <a:solidFill>
                  <a:schemeClr val="bg1"/>
                </a:solidFill>
                <a:latin typeface="+mn-lt"/>
              </a:rPr>
              <a:t>/</a:t>
            </a:r>
            <a:r>
              <a:rPr lang="en-US" sz="2400">
                <a:solidFill>
                  <a:schemeClr val="bg1"/>
                </a:solidFill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lesk</a:t>
            </a:r>
            <a:endParaRPr lang="en-US" sz="2400">
              <a:solidFill>
                <a:schemeClr val="bg1"/>
              </a:solidFill>
              <a:latin typeface="+mn-lt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manages domains/websites/databases/</a:t>
            </a:r>
            <a:r>
              <a:rPr lang="en-US" sz="2400" err="1">
                <a:solidFill>
                  <a:schemeClr val="bg1"/>
                </a:solidFill>
                <a:latin typeface="+mn-lt"/>
              </a:rPr>
              <a:t>dns</a:t>
            </a:r>
            <a:r>
              <a:rPr lang="en-US" sz="2400">
                <a:solidFill>
                  <a:schemeClr val="bg1"/>
                </a:solidFill>
                <a:latin typeface="+mn-lt"/>
              </a:rPr>
              <a:t>/</a:t>
            </a:r>
            <a:r>
              <a:rPr lang="en-US" sz="2400" err="1">
                <a:solidFill>
                  <a:schemeClr val="bg1"/>
                </a:solidFill>
                <a:latin typeface="+mn-lt"/>
              </a:rPr>
              <a:t>cron</a:t>
            </a:r>
            <a:r>
              <a:rPr lang="en-US" sz="2400">
                <a:solidFill>
                  <a:schemeClr val="bg1"/>
                </a:solidFill>
                <a:latin typeface="+mn-lt"/>
              </a:rPr>
              <a:t>/backups </a:t>
            </a:r>
            <a:r>
              <a:rPr lang="en-US" sz="2400" err="1">
                <a:solidFill>
                  <a:schemeClr val="bg1"/>
                </a:solidFill>
                <a:latin typeface="+mn-lt"/>
              </a:rPr>
              <a:t>etc</a:t>
            </a:r>
            <a:endParaRPr lang="en-US" sz="2400">
              <a:solidFill>
                <a:schemeClr val="bg1"/>
              </a:solidFill>
              <a:latin typeface="+mn-lt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lightweight,  exposes a PHP </a:t>
            </a:r>
            <a:r>
              <a:rPr lang="en-US" sz="2400" err="1">
                <a:solidFill>
                  <a:schemeClr val="bg1"/>
                </a:solidFill>
                <a:latin typeface="+mn-lt"/>
              </a:rPr>
              <a:t>api</a:t>
            </a:r>
            <a:r>
              <a:rPr lang="en-US" sz="2400">
                <a:solidFill>
                  <a:schemeClr val="bg1"/>
                </a:solidFill>
                <a:latin typeface="+mn-lt"/>
              </a:rPr>
              <a:t> which calls  bash scripts for the heavy work</a:t>
            </a: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acquired last year around the time we reported this Critical issue</a:t>
            </a: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19419-A15B-BDC6-7B7B-6093AC989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884" y="372137"/>
            <a:ext cx="9936448" cy="828458"/>
          </a:xfrm>
        </p:spPr>
        <p:txBody>
          <a:bodyPr vert="horz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chemeClr val="bg1"/>
                </a:solidFill>
              </a:rPr>
              <a:t>About Vesta CP</a:t>
            </a:r>
            <a:endParaRPr lang="ro-RO">
              <a:solidFill>
                <a:schemeClr val="bg1"/>
              </a:solidFill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401B860A-AF62-753D-B826-EA4204C77E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31753" y="6250408"/>
            <a:ext cx="3210167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ro-RO">
                <a:solidFill>
                  <a:srgbClr val="5F4776"/>
                </a:solidFill>
              </a:rPr>
              <a:t>Fixing Security pain points</a:t>
            </a: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CCD5FB40-A94F-6BFA-F845-F99FC124E7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DE39F21-0ECE-E9B6-9C4B-1A704A68E4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549798" y="1205316"/>
            <a:ext cx="4109013" cy="74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112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308F8D-405C-F0A9-5DB3-657E71FDD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B964800-7626-31B0-9265-F16084AB9A4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3548" b="14789"/>
          <a:stretch/>
        </p:blipFill>
        <p:spPr>
          <a:xfrm>
            <a:off x="548296" y="1914939"/>
            <a:ext cx="9936448" cy="3987644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E6E3C58-4305-0CCE-0A3B-CCE5F9FD6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884" y="381782"/>
            <a:ext cx="9811056" cy="799522"/>
          </a:xfrm>
        </p:spPr>
        <p:txBody>
          <a:bodyPr vert="horz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chemeClr val="bg1"/>
                </a:solidFill>
              </a:rPr>
              <a:t>VESTA CP Dashboard</a:t>
            </a:r>
            <a:endParaRPr lang="ro-RO">
              <a:solidFill>
                <a:schemeClr val="bg1"/>
              </a:solidFill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66201C6-6322-B671-E0E1-EFC931D258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31753" y="6250408"/>
            <a:ext cx="3210167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rgbClr val="5F4776"/>
                </a:solidFill>
              </a:rPr>
              <a:t>Fixing Security pain points</a:t>
            </a: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70290DD1-FC9A-B5F2-88EF-9C0552A0B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D965457-2C26-1E24-C533-B26C2B536D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675190" y="1245672"/>
            <a:ext cx="4109013" cy="94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4127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9BF269-01EE-18C4-2C73-3C2663E839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A3FD480-5A38-A9A9-324B-4DEC296CBB51}"/>
              </a:ext>
            </a:extLst>
          </p:cNvPr>
          <p:cNvSpPr txBox="1"/>
          <p:nvPr/>
        </p:nvSpPr>
        <p:spPr>
          <a:xfrm>
            <a:off x="548295" y="1914939"/>
            <a:ext cx="11007131" cy="3987644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Source code is available, let’s do white box </a:t>
            </a: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Code is PHP,  easy to read, no OOP,  no frameworks</a:t>
            </a: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issues reported previously </a:t>
            </a:r>
            <a:r>
              <a:rPr lang="en-US" sz="2400">
                <a:solidFill>
                  <a:schemeClr val="bg1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ve.mitre.org/cgi-bin/cvekey.cgi?keyword=vesta</a:t>
            </a:r>
            <a:r>
              <a:rPr lang="en-US" sz="2400">
                <a:solidFill>
                  <a:schemeClr val="bg1"/>
                </a:solidFill>
                <a:latin typeface="+mn-lt"/>
              </a:rPr>
              <a:t> </a:t>
            </a: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Let’s review 2 dodgy code patterns  first just for fun ( some of our failures)</a:t>
            </a:r>
          </a:p>
          <a:p>
            <a:pPr marL="228600" indent="-228600" ea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00463F-D7D3-E7FC-156E-8D2DAE9A5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884" y="333554"/>
            <a:ext cx="9859284" cy="924915"/>
          </a:xfrm>
        </p:spPr>
        <p:txBody>
          <a:bodyPr vert="horz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chemeClr val="bg1"/>
                </a:solidFill>
              </a:rPr>
              <a:t>VESTA CP – White Box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22E3899F-FA96-AB4F-3AFC-D069C05F8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0B723CB-ECB5-934D-F394-5A2CD811E2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646254" y="1262237"/>
            <a:ext cx="4109013" cy="104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0497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9BF269-01EE-18C4-2C73-3C2663E839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A3FD480-5A38-A9A9-324B-4DEC296CBB51}"/>
              </a:ext>
            </a:extLst>
          </p:cNvPr>
          <p:cNvSpPr txBox="1"/>
          <p:nvPr/>
        </p:nvSpPr>
        <p:spPr>
          <a:xfrm>
            <a:off x="547502" y="1083012"/>
            <a:ext cx="4500487" cy="1629509"/>
          </a:xfrm>
          <a:prstGeom prst="rect">
            <a:avLst/>
          </a:prstGeom>
        </p:spPr>
        <p:txBody>
          <a:bodyPr lIns="91440" tIns="45720" rIns="91440" bIns="45720" anchor="t">
            <a:normAutofit fontScale="92500" lnSpcReduction="20000"/>
          </a:bodyPr>
          <a:lstStyle/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1"/>
              </a:solidFill>
              <a:latin typeface="+mn-lt"/>
            </a:endParaRPr>
          </a:p>
          <a:p>
            <a:pPr marL="228600" indent="-228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Add </a:t>
            </a:r>
            <a:r>
              <a:rPr lang="en-US" sz="2400" dirty="0" err="1">
                <a:solidFill>
                  <a:schemeClr val="bg1"/>
                </a:solidFill>
                <a:latin typeface="+mn-lt"/>
              </a:rPr>
              <a:t>cron</a:t>
            </a:r>
            <a:endParaRPr lang="en-US" sz="2400" dirty="0">
              <a:solidFill>
                <a:schemeClr val="bg1"/>
              </a:solidFill>
              <a:latin typeface="+mn-lt"/>
              <a:cs typeface="Kanit Light"/>
            </a:endParaRP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All vars escaped, except $user</a:t>
            </a:r>
            <a:endParaRPr lang="en-US" sz="2400" dirty="0">
              <a:solidFill>
                <a:schemeClr val="bg1"/>
              </a:solidFill>
              <a:latin typeface="+mn-lt"/>
              <a:cs typeface="Kanit Light"/>
            </a:endParaRP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Inject in $user for RCE?</a:t>
            </a:r>
            <a:endParaRPr lang="en-US" sz="2400" dirty="0">
              <a:solidFill>
                <a:schemeClr val="bg1"/>
              </a:solidFill>
              <a:latin typeface="+mn-lt"/>
              <a:cs typeface="Kanit Light"/>
            </a:endParaRP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b="0" i="0">
              <a:solidFill>
                <a:schemeClr val="bg1"/>
              </a:solidFill>
              <a:effectLst/>
              <a:latin typeface="+mn-lt"/>
            </a:endParaRP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" name="Picture 6" descr="A screen shot of a computer program">
            <a:extLst>
              <a:ext uri="{FF2B5EF4-FFF2-40B4-BE49-F238E27FC236}">
                <a16:creationId xmlns:a16="http://schemas.microsoft.com/office/drawing/2014/main" id="{21CEA188-0485-B668-F209-344FED5A82F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5259" b="2"/>
          <a:stretch/>
        </p:blipFill>
        <p:spPr>
          <a:xfrm>
            <a:off x="5245815" y="1084486"/>
            <a:ext cx="6810376" cy="5319338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700463F-D7D3-E7FC-156E-8D2DAE9A5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141" y="264467"/>
            <a:ext cx="10803916" cy="654839"/>
          </a:xfrm>
        </p:spPr>
        <p:txBody>
          <a:bodyPr vert="horz" lIns="91440" tIns="45720" rIns="91440" bIns="45720"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chemeClr val="bg1"/>
                </a:solidFill>
              </a:rPr>
              <a:t>VESTA CP – Dodgy code pattern #1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22E3899F-FA96-AB4F-3AFC-D069C05F8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D588218-DB1C-2C77-6E4A-8C8E4FA702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549798" y="994888"/>
            <a:ext cx="4109013" cy="88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8343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9BF269-01EE-18C4-2C73-3C2663E839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screen shot of a computer program">
            <a:extLst>
              <a:ext uri="{FF2B5EF4-FFF2-40B4-BE49-F238E27FC236}">
                <a16:creationId xmlns:a16="http://schemas.microsoft.com/office/drawing/2014/main" id="{46A4F3E6-A830-B5EF-E924-61CCAA3B34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884" y="1528175"/>
            <a:ext cx="5103998" cy="2475439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A3FD480-5A38-A9A9-324B-4DEC296CBB51}"/>
              </a:ext>
            </a:extLst>
          </p:cNvPr>
          <p:cNvSpPr txBox="1"/>
          <p:nvPr/>
        </p:nvSpPr>
        <p:spPr>
          <a:xfrm>
            <a:off x="5718132" y="1528175"/>
            <a:ext cx="6181594" cy="284967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add </a:t>
            </a:r>
            <a:r>
              <a:rPr lang="en-US" sz="2400" err="1">
                <a:solidFill>
                  <a:schemeClr val="bg1"/>
                </a:solidFill>
                <a:latin typeface="+mn-lt"/>
              </a:rPr>
              <a:t>cron</a:t>
            </a:r>
            <a:r>
              <a:rPr lang="en-US" sz="2400">
                <a:solidFill>
                  <a:schemeClr val="bg1"/>
                </a:solidFill>
                <a:latin typeface="+mn-lt"/>
              </a:rPr>
              <a:t> continued</a:t>
            </a: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inject in $user for RCE?</a:t>
            </a: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$user comes from $_SESSION; $_SESSION pollution? </a:t>
            </a: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no explicit Auth check (in many places)</a:t>
            </a: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n-lt"/>
              </a:rPr>
              <a:t>patches In many files, but not centralized</a:t>
            </a: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b="0" i="0">
              <a:solidFill>
                <a:schemeClr val="bg1"/>
              </a:solidFill>
              <a:effectLst/>
              <a:latin typeface="+mn-lt"/>
            </a:endParaRPr>
          </a:p>
          <a:p>
            <a:pPr marL="228600" indent="-228600" eaLnBrk="1" hangingPunct="1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00463F-D7D3-E7FC-156E-8D2DAE9A5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074" y="237099"/>
            <a:ext cx="10668878" cy="780230"/>
          </a:xfrm>
        </p:spPr>
        <p:txBody>
          <a:bodyPr vert="horz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chemeClr val="bg1"/>
                </a:solidFill>
              </a:rPr>
              <a:t>VESTA CP – Dodgy code </a:t>
            </a:r>
            <a:r>
              <a:rPr lang="en-US" err="1">
                <a:solidFill>
                  <a:schemeClr val="bg1"/>
                </a:solidFill>
              </a:rPr>
              <a:t>patern</a:t>
            </a:r>
            <a:r>
              <a:rPr lang="en-US">
                <a:solidFill>
                  <a:schemeClr val="bg1"/>
                </a:solidFill>
              </a:rPr>
              <a:t> #1</a:t>
            </a:r>
            <a:endParaRPr lang="ro-RO">
              <a:solidFill>
                <a:schemeClr val="bg1"/>
              </a:solidFill>
            </a:endParaRPr>
          </a:p>
        </p:txBody>
      </p:sp>
      <p:pic>
        <p:nvPicPr>
          <p:cNvPr id="17424" name="Picture 16">
            <a:extLst>
              <a:ext uri="{FF2B5EF4-FFF2-40B4-BE49-F238E27FC236}">
                <a16:creationId xmlns:a16="http://schemas.microsoft.com/office/drawing/2014/main" id="{22E3899F-FA96-AB4F-3AFC-D069C05F8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58E8AF2-FFFF-1FCD-17CC-7F7FE1EB8D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549798" y="1013864"/>
            <a:ext cx="4109013" cy="7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77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HO template">
  <a:themeElements>
    <a:clrScheme name="FORTBRIDGE">
      <a:dk1>
        <a:srgbClr val="868888"/>
      </a:dk1>
      <a:lt1>
        <a:srgbClr val="FFFFFF"/>
      </a:lt1>
      <a:dk2>
        <a:srgbClr val="868888"/>
      </a:dk2>
      <a:lt2>
        <a:srgbClr val="EDEAEF"/>
      </a:lt2>
      <a:accent1>
        <a:srgbClr val="5F4776"/>
      </a:accent1>
      <a:accent2>
        <a:srgbClr val="F89ABA"/>
      </a:accent2>
      <a:accent3>
        <a:srgbClr val="10CFC9"/>
      </a:accent3>
      <a:accent4>
        <a:srgbClr val="5F4776"/>
      </a:accent4>
      <a:accent5>
        <a:srgbClr val="F89ABA"/>
      </a:accent5>
      <a:accent6>
        <a:srgbClr val="10CFC9"/>
      </a:accent6>
      <a:hlink>
        <a:srgbClr val="129C97"/>
      </a:hlink>
      <a:folHlink>
        <a:srgbClr val="503962"/>
      </a:folHlink>
    </a:clrScheme>
    <a:fontScheme name="Custom 124">
      <a:majorFont>
        <a:latin typeface="Kanit Medium"/>
        <a:ea typeface=""/>
        <a:cs typeface=""/>
      </a:majorFont>
      <a:minorFont>
        <a:latin typeface="Kani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6953CFE2738E49BB704F04CA7530A7" ma:contentTypeVersion="11" ma:contentTypeDescription="Create a new document." ma:contentTypeScope="" ma:versionID="8c2bbb812d2cdf8854a4e120ced9876b">
  <xsd:schema xmlns:xsd="http://www.w3.org/2001/XMLSchema" xmlns:xs="http://www.w3.org/2001/XMLSchema" xmlns:p="http://schemas.microsoft.com/office/2006/metadata/properties" xmlns:ns2="ec727d12-16bd-4884-bd53-9ed3113957b7" xmlns:ns3="0d431b18-534c-4c03-8a73-46c06e60a63e" targetNamespace="http://schemas.microsoft.com/office/2006/metadata/properties" ma:root="true" ma:fieldsID="7f80c450e3720657bd654046696ec23f" ns2:_="" ns3:_="">
    <xsd:import namespace="ec727d12-16bd-4884-bd53-9ed3113957b7"/>
    <xsd:import namespace="0d431b18-534c-4c03-8a73-46c06e60a63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ObjectDetectorVersions" minOccurs="0"/>
                <xsd:element ref="ns3:MediaServiceSearchProperties" minOccurs="0"/>
                <xsd:element ref="ns3:MediaServiceDateTake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727d12-16bd-4884-bd53-9ed3113957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431b18-534c-4c03-8a73-46c06e60a6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74710A1-A0CC-4F8A-BF2E-B1E70534D545}">
  <ds:schemaRefs>
    <ds:schemaRef ds:uri="0d431b18-534c-4c03-8a73-46c06e60a63e"/>
    <ds:schemaRef ds:uri="ec727d12-16bd-4884-bd53-9ed3113957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D03CCC0-8A5D-4CE4-9F4B-CAB91BFB528F}">
  <ds:schemaRefs>
    <ds:schemaRef ds:uri="0d431b18-534c-4c03-8a73-46c06e60a63e"/>
    <ds:schemaRef ds:uri="ec727d12-16bd-4884-bd53-9ed3113957b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F877D93-FE1E-4EA6-8A78-CBEB537F431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32</Slides>
  <Notes>3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3" baseType="lpstr">
      <vt:lpstr>ESHO template</vt:lpstr>
      <vt:lpstr>PowerPoint Presentation</vt:lpstr>
      <vt:lpstr>whoami</vt:lpstr>
      <vt:lpstr>What is this TALK about?</vt:lpstr>
      <vt:lpstr>OWASP Top 10 - #2 Security Risk</vt:lpstr>
      <vt:lpstr>About Vesta CP</vt:lpstr>
      <vt:lpstr>VESTA CP Dashboard</vt:lpstr>
      <vt:lpstr>VESTA CP – White Box</vt:lpstr>
      <vt:lpstr>VESTA CP – Dodgy code pattern #1</vt:lpstr>
      <vt:lpstr>VESTA CP – Dodgy code patern #1</vt:lpstr>
      <vt:lpstr>VESTA CP – Dodgy code patern #2</vt:lpstr>
      <vt:lpstr>Vesta CP – The Password Reset process</vt:lpstr>
      <vt:lpstr>PHP api/v1/reset/index.php</vt:lpstr>
      <vt:lpstr>Vesta CP – What is RKEY ? </vt:lpstr>
      <vt:lpstr>Vesta CP  v-change-user-password  </vt:lpstr>
      <vt:lpstr>Vesta CP –  generate_password </vt:lpstr>
      <vt:lpstr>Vesta CP – attacking $RANDOM</vt:lpstr>
      <vt:lpstr>Vesta CP – $RANDOM algorithm</vt:lpstr>
      <vt:lpstr>Vesta CP – dive into bash internals </vt:lpstr>
      <vt:lpstr>Vesta CP – Initial ideas</vt:lpstr>
      <vt:lpstr>Vesta CP – PHP internals</vt:lpstr>
      <vt:lpstr>Vesta CP – PHP seeding vs Bash seeding</vt:lpstr>
      <vt:lpstr>Vesta CP – The issue with Seeding (“AHA!”)</vt:lpstr>
      <vt:lpstr>Vesta CP – The issues summarized</vt:lpstr>
      <vt:lpstr>Vesta CP – Sample PHP code for visualization</vt:lpstr>
      <vt:lpstr>Vesta CP – PHP output</vt:lpstr>
      <vt:lpstr>Vesta CP – “Local” exploit to test our theory</vt:lpstr>
      <vt:lpstr>Vesta CP – “Local” exploit output</vt:lpstr>
      <vt:lpstr>Vesta CP – Turbo Intruder FTW</vt:lpstr>
      <vt:lpstr>Vesta CP – The Glorious Win</vt:lpstr>
      <vt:lpstr>Vesta CP – Fix &amp; Conclus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udochia Zenoveiov</dc:creator>
  <cp:revision>47</cp:revision>
  <cp:lastPrinted>2020-11-13T08:35:10Z</cp:lastPrinted>
  <dcterms:created xsi:type="dcterms:W3CDTF">2018-09-27T08:54:37Z</dcterms:created>
  <dcterms:modified xsi:type="dcterms:W3CDTF">2025-04-11T08:3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6953CFE2738E49BB704F04CA7530A7</vt:lpwstr>
  </property>
</Properties>
</file>